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charts/chart1.xml" ContentType="application/vnd.openxmlformats-officedocument.drawingml.chart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charts/chart4.xml" ContentType="application/vnd.openxmlformats-officedocument.drawingml.chart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charts/chart5.xml" ContentType="application/vnd.openxmlformats-officedocument.drawingml.chart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charts/chart8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6"/>
  </p:notesMasterIdLst>
  <p:handoutMasterIdLst>
    <p:handoutMasterId r:id="rId47"/>
  </p:handoutMasterIdLst>
  <p:sldIdLst>
    <p:sldId id="311" r:id="rId2"/>
    <p:sldId id="312" r:id="rId3"/>
    <p:sldId id="313" r:id="rId4"/>
    <p:sldId id="314" r:id="rId5"/>
    <p:sldId id="315" r:id="rId6"/>
    <p:sldId id="316" r:id="rId7"/>
    <p:sldId id="321" r:id="rId8"/>
    <p:sldId id="256" r:id="rId9"/>
    <p:sldId id="257" r:id="rId10"/>
    <p:sldId id="258" r:id="rId11"/>
    <p:sldId id="261" r:id="rId12"/>
    <p:sldId id="277" r:id="rId13"/>
    <p:sldId id="262" r:id="rId14"/>
    <p:sldId id="278" r:id="rId15"/>
    <p:sldId id="279" r:id="rId16"/>
    <p:sldId id="280" r:id="rId17"/>
    <p:sldId id="281" r:id="rId18"/>
    <p:sldId id="284" r:id="rId19"/>
    <p:sldId id="283" r:id="rId20"/>
    <p:sldId id="282" r:id="rId21"/>
    <p:sldId id="285" r:id="rId22"/>
    <p:sldId id="286" r:id="rId23"/>
    <p:sldId id="287" r:id="rId24"/>
    <p:sldId id="289" r:id="rId25"/>
    <p:sldId id="293" r:id="rId26"/>
    <p:sldId id="295" r:id="rId27"/>
    <p:sldId id="298" r:id="rId28"/>
    <p:sldId id="300" r:id="rId29"/>
    <p:sldId id="317" r:id="rId30"/>
    <p:sldId id="318" r:id="rId31"/>
    <p:sldId id="290" r:id="rId32"/>
    <p:sldId id="296" r:id="rId33"/>
    <p:sldId id="320" r:id="rId34"/>
    <p:sldId id="319" r:id="rId35"/>
    <p:sldId id="306" r:id="rId36"/>
    <p:sldId id="288" r:id="rId37"/>
    <p:sldId id="291" r:id="rId38"/>
    <p:sldId id="292" r:id="rId39"/>
    <p:sldId id="294" r:id="rId40"/>
    <p:sldId id="297" r:id="rId41"/>
    <p:sldId id="299" r:id="rId42"/>
    <p:sldId id="303" r:id="rId43"/>
    <p:sldId id="304" r:id="rId44"/>
    <p:sldId id="310" r:id="rId45"/>
  </p:sldIdLst>
  <p:sldSz cx="12192000" cy="6858000"/>
  <p:notesSz cx="6858000" cy="9144000"/>
  <p:custDataLst>
    <p:tags r:id="rId4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62" userDrawn="1">
          <p15:clr>
            <a:srgbClr val="A4A3A4"/>
          </p15:clr>
        </p15:guide>
        <p15:guide id="2" pos="438" userDrawn="1">
          <p15:clr>
            <a:srgbClr val="A4A3A4"/>
          </p15:clr>
        </p15:guide>
        <p15:guide id="3" pos="3772" userDrawn="1">
          <p15:clr>
            <a:srgbClr val="A4A3A4"/>
          </p15:clr>
        </p15:guide>
        <p15:guide id="4" pos="4135" userDrawn="1">
          <p15:clr>
            <a:srgbClr val="A4A3A4"/>
          </p15:clr>
        </p15:guide>
        <p15:guide id="6" orient="horz" pos="3793" userDrawn="1">
          <p15:clr>
            <a:srgbClr val="A4A3A4"/>
          </p15:clr>
        </p15:guide>
        <p15:guide id="7" pos="746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084" autoAdjust="0"/>
    <p:restoredTop sz="94660"/>
  </p:normalViewPr>
  <p:slideViewPr>
    <p:cSldViewPr snapToGrid="0" showGuides="1">
      <p:cViewPr>
        <p:scale>
          <a:sx n="100" d="100"/>
          <a:sy n="100" d="100"/>
        </p:scale>
        <p:origin x="1194" y="204"/>
      </p:cViewPr>
      <p:guideLst>
        <p:guide orient="horz" pos="1162"/>
        <p:guide pos="438"/>
        <p:guide pos="3772"/>
        <p:guide pos="4135"/>
        <p:guide orient="horz" pos="3793"/>
        <p:guide pos="746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3918" y="10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6970673705695569E-2"/>
          <c:y val="3.3961330531325981E-2"/>
          <c:w val="0.95302932629430448"/>
          <c:h val="0.729604323487367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B$2:$B$4</c:f>
              <c:numCache>
                <c:formatCode>0.0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6E-42E6-AF73-CF84BDDAD33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C$2:$C$4</c:f>
              <c:numCache>
                <c:formatCode>0.0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26E-42E6-AF73-CF84BDDAD33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D$2:$D$4</c:f>
              <c:numCache>
                <c:formatCode>0.0</c:formatCode>
                <c:ptCount val="3"/>
                <c:pt idx="0">
                  <c:v>1.7</c:v>
                </c:pt>
                <c:pt idx="1">
                  <c:v>2.2999999999999998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26E-42E6-AF73-CF84BDDAD33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E$2:$E$4</c:f>
              <c:numCache>
                <c:formatCode>0.0</c:formatCode>
                <c:ptCount val="3"/>
                <c:pt idx="0">
                  <c:v>5.2</c:v>
                </c:pt>
                <c:pt idx="1">
                  <c:v>6.7</c:v>
                </c:pt>
                <c:pt idx="2">
                  <c:v>3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26E-42E6-AF73-CF84BDDAD33F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F$2:$F$4</c:f>
              <c:numCache>
                <c:formatCode>0.0</c:formatCode>
                <c:ptCount val="3"/>
                <c:pt idx="0">
                  <c:v>4.0999999999999996</c:v>
                </c:pt>
                <c:pt idx="1">
                  <c:v>2.8</c:v>
                </c:pt>
                <c:pt idx="2">
                  <c:v>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26E-42E6-AF73-CF84BDDAD33F}"/>
            </c:ext>
          </c:extLst>
        </c:ser>
        <c:ser>
          <c:idx val="5"/>
          <c:order val="5"/>
          <c:tx>
            <c:strRef>
              <c:f>Tabelle1!$G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G$2:$G$4</c:f>
              <c:numCache>
                <c:formatCode>0.0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26E-42E6-AF73-CF84BDDAD3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5"/>
        <c:axId val="865755520"/>
        <c:axId val="865757056"/>
      </c:barChart>
      <c:catAx>
        <c:axId val="86575552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12700">
            <a:solidFill>
              <a:schemeClr val="tx1"/>
            </a:solidFill>
          </a:ln>
        </c:spPr>
        <c:crossAx val="865757056"/>
        <c:crosses val="autoZero"/>
        <c:auto val="1"/>
        <c:lblAlgn val="ctr"/>
        <c:lblOffset val="100"/>
        <c:noMultiLvlLbl val="0"/>
      </c:catAx>
      <c:valAx>
        <c:axId val="865757056"/>
        <c:scaling>
          <c:orientation val="minMax"/>
          <c:max val="10"/>
        </c:scaling>
        <c:delete val="0"/>
        <c:axPos val="l"/>
        <c:majorGridlines>
          <c:spPr>
            <a:ln w="6350">
              <a:solidFill>
                <a:srgbClr val="DCDCDC"/>
              </a:solidFill>
            </a:ln>
          </c:spPr>
        </c:majorGridlines>
        <c:numFmt formatCode="0" sourceLinked="0"/>
        <c:majorTickMark val="none"/>
        <c:minorTickMark val="none"/>
        <c:tickLblPos val="nextTo"/>
        <c:spPr>
          <a:ln>
            <a:noFill/>
          </a:ln>
        </c:spPr>
        <c:crossAx val="865755520"/>
        <c:crosses val="autoZero"/>
        <c:crossBetween val="between"/>
        <c:majorUnit val="2"/>
      </c:valAx>
    </c:plotArea>
    <c:legend>
      <c:legendPos val="b"/>
      <c:overlay val="0"/>
    </c:legend>
    <c:plotVisOnly val="1"/>
    <c:dispBlanksAs val="gap"/>
    <c:showDLblsOverMax val="0"/>
  </c:chart>
  <c:spPr>
    <a:noFill/>
  </c:spPr>
  <c:txPr>
    <a:bodyPr/>
    <a:lstStyle/>
    <a:p>
      <a:pPr>
        <a:defRPr lang="en-US" sz="1400" baseline="0" noProof="0">
          <a:solidFill>
            <a:srgbClr val="000000"/>
          </a:solidFill>
        </a:defRPr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006895877145791"/>
          <c:y val="6.0317415752150959E-2"/>
          <c:w val="0.50442333838704945"/>
          <c:h val="0.77014836749164739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041F-46BC-8BDF-1D45A86C58E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041F-46BC-8BDF-1D45A86C58E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041F-46BC-8BDF-1D45A86C58E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041F-46BC-8BDF-1D45A86C58E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041F-46BC-8BDF-1D45A86C58E7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041F-46BC-8BDF-1D45A86C58E7}"/>
              </c:ext>
            </c:extLst>
          </c:dPt>
          <c:dPt>
            <c:idx val="6"/>
            <c:bubble3D val="0"/>
            <c:spPr>
              <a:solidFill>
                <a:schemeClr val="bg2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D-041F-46BC-8BDF-1D45A86C58E7}"/>
              </c:ext>
            </c:extLst>
          </c:dPt>
          <c:dPt>
            <c:idx val="7"/>
            <c:bubble3D val="0"/>
            <c:spPr>
              <a:solidFill>
                <a:schemeClr val="tx1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F-041F-46BC-8BDF-1D45A86C58E7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numRef>
              <c:f>Tabelle1!$A$2:$A$7</c:f>
              <c:numCache>
                <c:formatCode>General</c:formatCode>
                <c:ptCount val="6"/>
                <c:pt idx="0">
                  <c:v>2006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Tabelle1!$B$2:$B$7</c:f>
              <c:numCache>
                <c:formatCode>0.0%</c:formatCode>
                <c:ptCount val="6"/>
                <c:pt idx="0">
                  <c:v>0.22500000000000001</c:v>
                </c:pt>
                <c:pt idx="1">
                  <c:v>0.19500000000000001</c:v>
                </c:pt>
                <c:pt idx="2">
                  <c:v>0.185</c:v>
                </c:pt>
                <c:pt idx="3">
                  <c:v>0.16500000000000001</c:v>
                </c:pt>
                <c:pt idx="4">
                  <c:v>0.115</c:v>
                </c:pt>
                <c:pt idx="5">
                  <c:v>0.1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041F-46BC-8BDF-1D45A86C58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</c:plotArea>
    <c:legend>
      <c:legendPos val="b"/>
      <c:overlay val="0"/>
    </c:legend>
    <c:plotVisOnly val="1"/>
    <c:dispBlanksAs val="zero"/>
    <c:showDLblsOverMax val="0"/>
  </c:chart>
  <c:spPr>
    <a:noFill/>
  </c:spPr>
  <c:txPr>
    <a:bodyPr/>
    <a:lstStyle/>
    <a:p>
      <a:pPr>
        <a:defRPr lang="en-US" sz="1400" noProof="0"/>
      </a:pPr>
      <a:endParaRPr lang="de-D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919064320180564E-3"/>
          <c:y val="3.5340780056036372E-2"/>
          <c:w val="0.99858588186280728"/>
          <c:h val="0.72959088277970552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28575">
              <a:solidFill>
                <a:schemeClr val="accent1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0.0</c:formatCode>
                <c:ptCount val="4"/>
                <c:pt idx="0">
                  <c:v>6.3</c:v>
                </c:pt>
                <c:pt idx="1">
                  <c:v>2.5</c:v>
                </c:pt>
                <c:pt idx="2">
                  <c:v>3.5</c:v>
                </c:pt>
                <c:pt idx="3">
                  <c:v>3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630-44CD-846A-D001D39758E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28575">
              <a:solidFill>
                <a:schemeClr val="accent2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0.0</c:formatCode>
                <c:ptCount val="4"/>
                <c:pt idx="0">
                  <c:v>4.4000000000000004</c:v>
                </c:pt>
                <c:pt idx="1">
                  <c:v>5.4</c:v>
                </c:pt>
                <c:pt idx="2">
                  <c:v>1.8</c:v>
                </c:pt>
                <c:pt idx="3">
                  <c:v>4.90000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630-44CD-846A-D001D39758E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ln w="28575">
              <a:solidFill>
                <a:schemeClr val="accent3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0.0</c:formatCode>
                <c:ptCount val="4"/>
                <c:pt idx="0">
                  <c:v>2.4</c:v>
                </c:pt>
                <c:pt idx="1">
                  <c:v>3.7</c:v>
                </c:pt>
                <c:pt idx="2">
                  <c:v>4.9000000000000004</c:v>
                </c:pt>
                <c:pt idx="3">
                  <c:v>6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630-44CD-846A-D001D39758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76832256"/>
        <c:axId val="876833792"/>
      </c:lineChart>
      <c:catAx>
        <c:axId val="876832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chemeClr val="tx1"/>
            </a:solidFill>
          </a:ln>
        </c:spPr>
        <c:crossAx val="876833792"/>
        <c:crosses val="autoZero"/>
        <c:auto val="1"/>
        <c:lblAlgn val="ctr"/>
        <c:lblOffset val="100"/>
        <c:noMultiLvlLbl val="0"/>
      </c:catAx>
      <c:valAx>
        <c:axId val="876833792"/>
        <c:scaling>
          <c:orientation val="minMax"/>
        </c:scaling>
        <c:delete val="1"/>
        <c:axPos val="l"/>
        <c:numFmt formatCode="0" sourceLinked="0"/>
        <c:majorTickMark val="none"/>
        <c:minorTickMark val="none"/>
        <c:tickLblPos val="nextTo"/>
        <c:crossAx val="876832256"/>
        <c:crosses val="autoZero"/>
        <c:crossBetween val="between"/>
        <c:majorUnit val="2"/>
      </c:valAx>
    </c:plotArea>
    <c:legend>
      <c:legendPos val="b"/>
      <c:overlay val="0"/>
    </c:legend>
    <c:plotVisOnly val="1"/>
    <c:dispBlanksAs val="gap"/>
    <c:showDLblsOverMax val="0"/>
  </c:chart>
  <c:spPr>
    <a:noFill/>
  </c:spPr>
  <c:txPr>
    <a:bodyPr/>
    <a:lstStyle/>
    <a:p>
      <a:pPr>
        <a:defRPr lang="en-US" sz="1400" baseline="0" noProof="0">
          <a:solidFill>
            <a:srgbClr val="000000"/>
          </a:solidFill>
        </a:defRPr>
      </a:pPr>
      <a:endParaRPr lang="de-DE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859407973062047"/>
          <c:y val="8.9566608313328654E-3"/>
          <c:w val="0.82140592026937942"/>
          <c:h val="0.971896806046842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rgbClr val="DCDCDC"/>
            </a:solidFill>
            <a:ln>
              <a:solidFill>
                <a:schemeClr val="bg1"/>
              </a:solidFill>
            </a:ln>
          </c:spPr>
          <c:invertIfNegative val="0"/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059D-4898-81DA-FB5DB21E0A55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7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2:$B$7</c:f>
              <c:numCache>
                <c:formatCode>0.0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5.6</c:v>
                </c:pt>
                <c:pt idx="4">
                  <c:v>7.4</c:v>
                </c:pt>
                <c:pt idx="5">
                  <c:v>8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59D-4898-81DA-FB5DB21E0A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868173312"/>
        <c:axId val="868174848"/>
      </c:barChart>
      <c:catAx>
        <c:axId val="868173312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 w="12700">
            <a:solidFill>
              <a:schemeClr val="tx1"/>
            </a:solidFill>
          </a:ln>
        </c:spPr>
        <c:crossAx val="868174848"/>
        <c:crosses val="autoZero"/>
        <c:auto val="1"/>
        <c:lblAlgn val="ctr"/>
        <c:lblOffset val="100"/>
        <c:noMultiLvlLbl val="0"/>
      </c:catAx>
      <c:valAx>
        <c:axId val="868174848"/>
        <c:scaling>
          <c:orientation val="minMax"/>
          <c:max val="10"/>
        </c:scaling>
        <c:delete val="1"/>
        <c:axPos val="t"/>
        <c:numFmt formatCode="0" sourceLinked="0"/>
        <c:majorTickMark val="none"/>
        <c:minorTickMark val="none"/>
        <c:tickLblPos val="nextTo"/>
        <c:crossAx val="868173312"/>
        <c:crosses val="autoZero"/>
        <c:crossBetween val="between"/>
        <c:majorUnit val="2"/>
      </c:valAx>
    </c:plotArea>
    <c:plotVisOnly val="1"/>
    <c:dispBlanksAs val="gap"/>
    <c:showDLblsOverMax val="0"/>
  </c:chart>
  <c:spPr>
    <a:solidFill>
      <a:schemeClr val="bg1"/>
    </a:solidFill>
  </c:spPr>
  <c:txPr>
    <a:bodyPr/>
    <a:lstStyle/>
    <a:p>
      <a:pPr>
        <a:defRPr lang="en-US" sz="1400" baseline="0" noProof="0">
          <a:solidFill>
            <a:srgbClr val="000000"/>
          </a:solidFill>
        </a:defRPr>
      </a:pPr>
      <a:endParaRPr lang="de-DE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6970673705695569E-2"/>
          <c:y val="3.3961330531325981E-2"/>
          <c:w val="0.95302932629430448"/>
          <c:h val="0.729604323487367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B$2:$B$4</c:f>
              <c:numCache>
                <c:formatCode>0.0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6E-42E6-AF73-CF84BDDAD33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C$2:$C$4</c:f>
              <c:numCache>
                <c:formatCode>0.0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26E-42E6-AF73-CF84BDDAD33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D$2:$D$4</c:f>
              <c:numCache>
                <c:formatCode>0.0</c:formatCode>
                <c:ptCount val="3"/>
                <c:pt idx="0">
                  <c:v>1.7</c:v>
                </c:pt>
                <c:pt idx="1">
                  <c:v>2.2999999999999998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26E-42E6-AF73-CF84BDDAD33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E$2:$E$4</c:f>
              <c:numCache>
                <c:formatCode>0.0</c:formatCode>
                <c:ptCount val="3"/>
                <c:pt idx="0">
                  <c:v>5.2</c:v>
                </c:pt>
                <c:pt idx="1">
                  <c:v>6.7</c:v>
                </c:pt>
                <c:pt idx="2">
                  <c:v>3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26E-42E6-AF73-CF84BDDAD33F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F$2:$F$4</c:f>
              <c:numCache>
                <c:formatCode>0.0</c:formatCode>
                <c:ptCount val="3"/>
                <c:pt idx="0">
                  <c:v>4.0999999999999996</c:v>
                </c:pt>
                <c:pt idx="1">
                  <c:v>2.8</c:v>
                </c:pt>
                <c:pt idx="2">
                  <c:v>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26E-42E6-AF73-CF84BDDAD33F}"/>
            </c:ext>
          </c:extLst>
        </c:ser>
        <c:ser>
          <c:idx val="5"/>
          <c:order val="5"/>
          <c:tx>
            <c:strRef>
              <c:f>Tabelle1!$G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bg1"/>
              </a:solidFill>
            </a:ln>
          </c:spPr>
          <c:invertIfNegative val="0"/>
          <c:cat>
            <c:strRef>
              <c:f>Tabelle1!$A$2:$A$4</c:f>
              <c:strCache>
                <c:ptCount val="3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</c:strCache>
            </c:strRef>
          </c:cat>
          <c:val>
            <c:numRef>
              <c:f>Tabelle1!$G$2:$G$4</c:f>
              <c:numCache>
                <c:formatCode>0.0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26E-42E6-AF73-CF84BDDAD3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5"/>
        <c:axId val="865755520"/>
        <c:axId val="865757056"/>
      </c:barChart>
      <c:catAx>
        <c:axId val="86575552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12700">
            <a:solidFill>
              <a:schemeClr val="tx1"/>
            </a:solidFill>
          </a:ln>
        </c:spPr>
        <c:crossAx val="865757056"/>
        <c:crosses val="autoZero"/>
        <c:auto val="1"/>
        <c:lblAlgn val="ctr"/>
        <c:lblOffset val="100"/>
        <c:noMultiLvlLbl val="0"/>
      </c:catAx>
      <c:valAx>
        <c:axId val="865757056"/>
        <c:scaling>
          <c:orientation val="minMax"/>
          <c:max val="10"/>
        </c:scaling>
        <c:delete val="0"/>
        <c:axPos val="l"/>
        <c:majorGridlines>
          <c:spPr>
            <a:ln w="6350">
              <a:solidFill>
                <a:srgbClr val="DCDCDC"/>
              </a:solidFill>
            </a:ln>
          </c:spPr>
        </c:majorGridlines>
        <c:numFmt formatCode="0" sourceLinked="0"/>
        <c:majorTickMark val="none"/>
        <c:minorTickMark val="none"/>
        <c:tickLblPos val="nextTo"/>
        <c:spPr>
          <a:ln>
            <a:noFill/>
          </a:ln>
        </c:spPr>
        <c:crossAx val="865755520"/>
        <c:crosses val="autoZero"/>
        <c:crossBetween val="between"/>
        <c:majorUnit val="2"/>
      </c:valAx>
    </c:plotArea>
    <c:legend>
      <c:legendPos val="b"/>
      <c:overlay val="0"/>
    </c:legend>
    <c:plotVisOnly val="1"/>
    <c:dispBlanksAs val="gap"/>
    <c:showDLblsOverMax val="0"/>
  </c:chart>
  <c:spPr>
    <a:noFill/>
  </c:spPr>
  <c:txPr>
    <a:bodyPr/>
    <a:lstStyle/>
    <a:p>
      <a:pPr>
        <a:defRPr lang="en-US" sz="1400" baseline="0" noProof="0">
          <a:solidFill>
            <a:srgbClr val="000000"/>
          </a:solidFill>
        </a:defRPr>
      </a:pPr>
      <a:endParaRPr lang="de-DE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006895877145791"/>
          <c:y val="6.0317415752150959E-2"/>
          <c:w val="0.50442333838704945"/>
          <c:h val="0.77014836749164739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041F-46BC-8BDF-1D45A86C58E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041F-46BC-8BDF-1D45A86C58E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041F-46BC-8BDF-1D45A86C58E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041F-46BC-8BDF-1D45A86C58E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041F-46BC-8BDF-1D45A86C58E7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041F-46BC-8BDF-1D45A86C58E7}"/>
              </c:ext>
            </c:extLst>
          </c:dPt>
          <c:dPt>
            <c:idx val="6"/>
            <c:bubble3D val="0"/>
            <c:spPr>
              <a:solidFill>
                <a:schemeClr val="bg2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D-041F-46BC-8BDF-1D45A86C58E7}"/>
              </c:ext>
            </c:extLst>
          </c:dPt>
          <c:dPt>
            <c:idx val="7"/>
            <c:bubble3D val="0"/>
            <c:spPr>
              <a:solidFill>
                <a:schemeClr val="tx1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F-041F-46BC-8BDF-1D45A86C58E7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numRef>
              <c:f>Tabelle1!$A$2:$A$7</c:f>
              <c:numCache>
                <c:formatCode>General</c:formatCode>
                <c:ptCount val="6"/>
                <c:pt idx="0">
                  <c:v>2006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Tabelle1!$B$2:$B$7</c:f>
              <c:numCache>
                <c:formatCode>0.0%</c:formatCode>
                <c:ptCount val="6"/>
                <c:pt idx="0">
                  <c:v>0.22500000000000001</c:v>
                </c:pt>
                <c:pt idx="1">
                  <c:v>0.19500000000000001</c:v>
                </c:pt>
                <c:pt idx="2">
                  <c:v>0.185</c:v>
                </c:pt>
                <c:pt idx="3">
                  <c:v>0.16500000000000001</c:v>
                </c:pt>
                <c:pt idx="4">
                  <c:v>0.115</c:v>
                </c:pt>
                <c:pt idx="5">
                  <c:v>0.1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041F-46BC-8BDF-1D45A86C58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</c:plotArea>
    <c:legend>
      <c:legendPos val="b"/>
      <c:overlay val="0"/>
    </c:legend>
    <c:plotVisOnly val="1"/>
    <c:dispBlanksAs val="zero"/>
    <c:showDLblsOverMax val="0"/>
  </c:chart>
  <c:spPr>
    <a:noFill/>
  </c:spPr>
  <c:txPr>
    <a:bodyPr/>
    <a:lstStyle/>
    <a:p>
      <a:pPr>
        <a:defRPr lang="en-US" sz="1400" noProof="0"/>
      </a:pPr>
      <a:endParaRPr lang="de-DE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919064320180564E-3"/>
          <c:y val="3.5340780056036372E-2"/>
          <c:w val="0.99858588186280728"/>
          <c:h val="0.72959088277970552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28575">
              <a:solidFill>
                <a:schemeClr val="accent1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0.0</c:formatCode>
                <c:ptCount val="4"/>
                <c:pt idx="0">
                  <c:v>6.3</c:v>
                </c:pt>
                <c:pt idx="1">
                  <c:v>2.5</c:v>
                </c:pt>
                <c:pt idx="2">
                  <c:v>3.5</c:v>
                </c:pt>
                <c:pt idx="3">
                  <c:v>3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630-44CD-846A-D001D39758E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28575">
              <a:solidFill>
                <a:schemeClr val="accent2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0.0</c:formatCode>
                <c:ptCount val="4"/>
                <c:pt idx="0">
                  <c:v>4.4000000000000004</c:v>
                </c:pt>
                <c:pt idx="1">
                  <c:v>5.4</c:v>
                </c:pt>
                <c:pt idx="2">
                  <c:v>1.8</c:v>
                </c:pt>
                <c:pt idx="3">
                  <c:v>4.90000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630-44CD-846A-D001D39758E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ln w="28575">
              <a:solidFill>
                <a:schemeClr val="accent3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0.0</c:formatCode>
                <c:ptCount val="4"/>
                <c:pt idx="0">
                  <c:v>2.4</c:v>
                </c:pt>
                <c:pt idx="1">
                  <c:v>3.7</c:v>
                </c:pt>
                <c:pt idx="2">
                  <c:v>4.9000000000000004</c:v>
                </c:pt>
                <c:pt idx="3">
                  <c:v>6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630-44CD-846A-D001D39758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76832256"/>
        <c:axId val="876833792"/>
      </c:lineChart>
      <c:catAx>
        <c:axId val="876832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chemeClr val="tx1"/>
            </a:solidFill>
          </a:ln>
        </c:spPr>
        <c:crossAx val="876833792"/>
        <c:crosses val="autoZero"/>
        <c:auto val="1"/>
        <c:lblAlgn val="ctr"/>
        <c:lblOffset val="100"/>
        <c:noMultiLvlLbl val="0"/>
      </c:catAx>
      <c:valAx>
        <c:axId val="876833792"/>
        <c:scaling>
          <c:orientation val="minMax"/>
        </c:scaling>
        <c:delete val="1"/>
        <c:axPos val="l"/>
        <c:numFmt formatCode="0" sourceLinked="0"/>
        <c:majorTickMark val="none"/>
        <c:minorTickMark val="none"/>
        <c:tickLblPos val="nextTo"/>
        <c:crossAx val="876832256"/>
        <c:crosses val="autoZero"/>
        <c:crossBetween val="between"/>
        <c:majorUnit val="2"/>
      </c:valAx>
    </c:plotArea>
    <c:legend>
      <c:legendPos val="b"/>
      <c:overlay val="0"/>
    </c:legend>
    <c:plotVisOnly val="1"/>
    <c:dispBlanksAs val="gap"/>
    <c:showDLblsOverMax val="0"/>
  </c:chart>
  <c:spPr>
    <a:noFill/>
  </c:spPr>
  <c:txPr>
    <a:bodyPr/>
    <a:lstStyle/>
    <a:p>
      <a:pPr>
        <a:defRPr lang="en-US" sz="1400" baseline="0" noProof="0">
          <a:solidFill>
            <a:srgbClr val="000000"/>
          </a:solidFill>
        </a:defRPr>
      </a:pPr>
      <a:endParaRPr lang="de-DE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859407973062047"/>
          <c:y val="8.9566608313328654E-3"/>
          <c:w val="0.82140592026937942"/>
          <c:h val="0.971896806046842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rgbClr val="DCDCDC"/>
            </a:solidFill>
            <a:ln>
              <a:solidFill>
                <a:schemeClr val="bg1"/>
              </a:solidFill>
            </a:ln>
          </c:spPr>
          <c:invertIfNegative val="0"/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B724-4470-9352-CB1B2F81432B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7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2:$B$7</c:f>
              <c:numCache>
                <c:formatCode>0.0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5.6</c:v>
                </c:pt>
                <c:pt idx="4">
                  <c:v>7.4</c:v>
                </c:pt>
                <c:pt idx="5">
                  <c:v>8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724-4470-9352-CB1B2F8143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868173312"/>
        <c:axId val="868174848"/>
      </c:barChart>
      <c:catAx>
        <c:axId val="868173312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 w="12700">
            <a:solidFill>
              <a:schemeClr val="tx1"/>
            </a:solidFill>
          </a:ln>
        </c:spPr>
        <c:crossAx val="868174848"/>
        <c:crosses val="autoZero"/>
        <c:auto val="1"/>
        <c:lblAlgn val="ctr"/>
        <c:lblOffset val="100"/>
        <c:noMultiLvlLbl val="0"/>
      </c:catAx>
      <c:valAx>
        <c:axId val="868174848"/>
        <c:scaling>
          <c:orientation val="minMax"/>
          <c:max val="10"/>
        </c:scaling>
        <c:delete val="1"/>
        <c:axPos val="t"/>
        <c:numFmt formatCode="0" sourceLinked="0"/>
        <c:majorTickMark val="none"/>
        <c:minorTickMark val="none"/>
        <c:tickLblPos val="nextTo"/>
        <c:crossAx val="868173312"/>
        <c:crosses val="autoZero"/>
        <c:crossBetween val="between"/>
        <c:majorUnit val="2"/>
      </c:valAx>
    </c:plotArea>
    <c:plotVisOnly val="1"/>
    <c:dispBlanksAs val="gap"/>
    <c:showDLblsOverMax val="0"/>
  </c:chart>
  <c:spPr>
    <a:solidFill>
      <a:schemeClr val="bg1"/>
    </a:solidFill>
  </c:spPr>
  <c:txPr>
    <a:bodyPr/>
    <a:lstStyle/>
    <a:p>
      <a:pPr>
        <a:defRPr lang="en-US" sz="1400" baseline="0" noProof="0">
          <a:solidFill>
            <a:srgbClr val="000000"/>
          </a:solidFill>
        </a:defRPr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7A43F64-B908-47CE-B77C-7EE5A4F9D39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793750" y="8604934"/>
            <a:ext cx="5594288" cy="16158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200"/>
            </a:lvl1pPr>
          </a:lstStyle>
          <a:p>
            <a:endParaRPr lang="de-DE" sz="105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4833C8-AF2D-40E4-B652-F49637A60A5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57199" y="8601417"/>
            <a:ext cx="273051" cy="16158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200"/>
            </a:lvl1pPr>
          </a:lstStyle>
          <a:p>
            <a:fld id="{0C428828-2AD1-4A5A-B381-CFE9A43FB237}" type="slidenum">
              <a:rPr lang="de-DE" sz="1050" b="1" smtClean="0"/>
              <a:t>‹Nr.›</a:t>
            </a:fld>
            <a:endParaRPr lang="de-DE" sz="1050" b="1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99A5C7B-7EA7-4B28-BD44-D49B13872C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38541" y="221456"/>
            <a:ext cx="849497" cy="553244"/>
          </a:xfrm>
          <a:prstGeom prst="rect">
            <a:avLst/>
          </a:prstGeom>
        </p:spPr>
      </p:pic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88585E5-925E-442D-9B9E-55D9332D67F2}"/>
              </a:ext>
            </a:extLst>
          </p:cNvPr>
          <p:cNvCxnSpPr>
            <a:cxnSpLocks/>
          </p:cNvCxnSpPr>
          <p:nvPr/>
        </p:nvCxnSpPr>
        <p:spPr>
          <a:xfrm>
            <a:off x="457199" y="8477250"/>
            <a:ext cx="59436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06172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004888" y="8606176"/>
            <a:ext cx="5167312" cy="161583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b">
            <a:spAutoFit/>
          </a:bodyPr>
          <a:lstStyle>
            <a:lvl1pPr algn="l">
              <a:defRPr sz="105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85800" y="8606176"/>
            <a:ext cx="284163" cy="161583"/>
          </a:xfrm>
          <a:prstGeom prst="rect">
            <a:avLst/>
          </a:prstGeom>
          <a:ln>
            <a:noFill/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0" tIns="0" rIns="0" bIns="0" rtlCol="0" anchor="b">
            <a:spAutoFit/>
          </a:bodyPr>
          <a:lstStyle>
            <a:lvl1pPr algn="r">
              <a:defRPr sz="1050" b="1"/>
            </a:lvl1pPr>
          </a:lstStyle>
          <a:p>
            <a:fld id="{D8367755-7C75-43EE-9EC8-D865AC6479A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82567E6-F45F-443A-BEE9-63DF0262C1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22703" y="221456"/>
            <a:ext cx="849497" cy="553244"/>
          </a:xfrm>
          <a:prstGeom prst="rect">
            <a:avLst/>
          </a:prstGeo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07CF42C9-EAB1-4C58-897E-710D36AA3CA6}"/>
              </a:ext>
            </a:extLst>
          </p:cNvPr>
          <p:cNvCxnSpPr>
            <a:cxnSpLocks/>
          </p:cNvCxnSpPr>
          <p:nvPr/>
        </p:nvCxnSpPr>
        <p:spPr>
          <a:xfrm>
            <a:off x="685800" y="8477250"/>
            <a:ext cx="5486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66574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400" rtl="0" eaLnBrk="1" latinLnBrk="0" hangingPunct="1">
      <a:buClr>
        <a:schemeClr val="tx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400" rtl="0" eaLnBrk="1" latinLnBrk="0" hangingPunct="1">
      <a:buClr>
        <a:schemeClr val="tx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400" rtl="0" eaLnBrk="1" latinLnBrk="0" hangingPunct="1">
      <a:buClr>
        <a:schemeClr val="tx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400" rtl="0" eaLnBrk="1" latinLnBrk="0" hangingPunct="1">
      <a:buClr>
        <a:schemeClr val="tx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29.xml"/><Relationship Id="rId7" Type="http://schemas.openxmlformats.org/officeDocument/2006/relationships/image" Target="../media/image2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31.xml"/><Relationship Id="rId7" Type="http://schemas.openxmlformats.org/officeDocument/2006/relationships/image" Target="../media/image2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45.xml"/><Relationship Id="rId7" Type="http://schemas.openxmlformats.org/officeDocument/2006/relationships/image" Target="../media/image2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47.xml"/><Relationship Id="rId7" Type="http://schemas.openxmlformats.org/officeDocument/2006/relationships/image" Target="../media/image2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49.xml"/><Relationship Id="rId7" Type="http://schemas.openxmlformats.org/officeDocument/2006/relationships/image" Target="../media/image2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7.xml"/><Relationship Id="rId7" Type="http://schemas.openxmlformats.org/officeDocument/2006/relationships/image" Target="../media/image2.png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9.xml"/><Relationship Id="rId7" Type="http://schemas.openxmlformats.org/officeDocument/2006/relationships/image" Target="../media/image2.png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61.xml"/><Relationship Id="rId7" Type="http://schemas.openxmlformats.org/officeDocument/2006/relationships/image" Target="../media/image2.png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63.xml"/><Relationship Id="rId7" Type="http://schemas.openxmlformats.org/officeDocument/2006/relationships/image" Target="../media/image2.png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65.xml"/><Relationship Id="rId7" Type="http://schemas.openxmlformats.org/officeDocument/2006/relationships/image" Target="../media/image2.png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67.xml"/><Relationship Id="rId7" Type="http://schemas.openxmlformats.org/officeDocument/2006/relationships/image" Target="../media/image2.png"/><Relationship Id="rId2" Type="http://schemas.openxmlformats.org/officeDocument/2006/relationships/tags" Target="../tags/tag6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69.xml"/><Relationship Id="rId7" Type="http://schemas.openxmlformats.org/officeDocument/2006/relationships/image" Target="../media/image2.png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71.xml"/><Relationship Id="rId7" Type="http://schemas.openxmlformats.org/officeDocument/2006/relationships/image" Target="../media/image2.png"/><Relationship Id="rId2" Type="http://schemas.openxmlformats.org/officeDocument/2006/relationships/tags" Target="../tags/tag7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73.xml"/><Relationship Id="rId7" Type="http://schemas.openxmlformats.org/officeDocument/2006/relationships/image" Target="../media/image2.png"/><Relationship Id="rId2" Type="http://schemas.openxmlformats.org/officeDocument/2006/relationships/tags" Target="../tags/tag7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75.xml"/><Relationship Id="rId7" Type="http://schemas.openxmlformats.org/officeDocument/2006/relationships/image" Target="../media/image2.png"/><Relationship Id="rId2" Type="http://schemas.openxmlformats.org/officeDocument/2006/relationships/tags" Target="../tags/tag7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77.xml"/><Relationship Id="rId7" Type="http://schemas.openxmlformats.org/officeDocument/2006/relationships/image" Target="../media/image2.png"/><Relationship Id="rId2" Type="http://schemas.openxmlformats.org/officeDocument/2006/relationships/tags" Target="../tags/tag76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79.xml"/><Relationship Id="rId7" Type="http://schemas.openxmlformats.org/officeDocument/2006/relationships/image" Target="../media/image2.png"/><Relationship Id="rId2" Type="http://schemas.openxmlformats.org/officeDocument/2006/relationships/tags" Target="../tags/tag78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81.xml"/><Relationship Id="rId7" Type="http://schemas.openxmlformats.org/officeDocument/2006/relationships/image" Target="../media/image2.png"/><Relationship Id="rId2" Type="http://schemas.openxmlformats.org/officeDocument/2006/relationships/tags" Target="../tags/tag8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3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9.xml"/><Relationship Id="rId7" Type="http://schemas.openxmlformats.org/officeDocument/2006/relationships/image" Target="../media/image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 11">
            <a:extLst>
              <a:ext uri="{FF2B5EF4-FFF2-40B4-BE49-F238E27FC236}">
                <a16:creationId xmlns:a16="http://schemas.microsoft.com/office/drawing/2014/main" id="{345B8CC5-06C1-472D-9579-229E85ACF8E4}"/>
              </a:ext>
            </a:extLst>
          </p:cNvPr>
          <p:cNvSpPr/>
          <p:nvPr userDrawn="1"/>
        </p:nvSpPr>
        <p:spPr bwMode="gray">
          <a:xfrm>
            <a:off x="144780" y="-7619"/>
            <a:ext cx="9357360" cy="4076700"/>
          </a:xfrm>
          <a:custGeom>
            <a:avLst/>
            <a:gdLst>
              <a:gd name="connsiteX0" fmla="*/ 0 w 7018020"/>
              <a:gd name="connsiteY0" fmla="*/ 0 h 3057525"/>
              <a:gd name="connsiteX1" fmla="*/ 714375 w 7018020"/>
              <a:gd name="connsiteY1" fmla="*/ 3057525 h 3057525"/>
              <a:gd name="connsiteX2" fmla="*/ 7018020 w 7018020"/>
              <a:gd name="connsiteY2" fmla="*/ 1600200 h 3057525"/>
              <a:gd name="connsiteX3" fmla="*/ 6652260 w 7018020"/>
              <a:gd name="connsiteY3" fmla="*/ 5715 h 3057525"/>
              <a:gd name="connsiteX4" fmla="*/ 0 w 7018020"/>
              <a:gd name="connsiteY4" fmla="*/ 0 h 305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18020" h="3057525">
                <a:moveTo>
                  <a:pt x="0" y="0"/>
                </a:moveTo>
                <a:lnTo>
                  <a:pt x="714375" y="3057525"/>
                </a:lnTo>
                <a:lnTo>
                  <a:pt x="7018020" y="1600200"/>
                </a:lnTo>
                <a:lnTo>
                  <a:pt x="6652260" y="5715"/>
                </a:lnTo>
                <a:lnTo>
                  <a:pt x="0" y="0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178B517-5906-4BB1-B0FC-C8DC054AAF36}"/>
              </a:ext>
            </a:extLst>
          </p:cNvPr>
          <p:cNvSpPr/>
          <p:nvPr userDrawn="1"/>
        </p:nvSpPr>
        <p:spPr bwMode="gray">
          <a:xfrm>
            <a:off x="-5" y="0"/>
            <a:ext cx="8640445" cy="3217547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4EFD84D-7620-4378-B33F-72E1F06AAE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2619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0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4EFD84D-7620-4378-B33F-72E1F06AA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6FBC020-F7BC-491F-A515-7633C9383B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31996BA-DEBA-4422-8751-889EF72798A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960000" y="1345624"/>
            <a:ext cx="7416000" cy="526298"/>
          </a:xfrm>
        </p:spPr>
        <p:txBody>
          <a:bodyPr anchor="ctr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AC5A5B-2679-4974-BA5D-19265FF288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0000" y="5079957"/>
            <a:ext cx="4356000" cy="307777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Kolpingsfamilie Beispielhaus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E94ABF0D-D15C-4EE3-B3EB-0D61FAD821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60000" y="5432738"/>
            <a:ext cx="4356000" cy="307777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T. Monat 20XX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51848211-9774-4D0C-9DA2-0F501977F5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960000" y="5785519"/>
            <a:ext cx="4356000" cy="307777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Name, Funktio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78A93654-10BB-4A8A-A13A-AE02708FB69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9831968" y="5045190"/>
            <a:ext cx="1664632" cy="1084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6613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0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>
            <a:extLst>
              <a:ext uri="{FF2B5EF4-FFF2-40B4-BE49-F238E27FC236}">
                <a16:creationId xmlns:a16="http://schemas.microsoft.com/office/drawing/2014/main" id="{F3CC6844-B310-462B-8936-62A1EE8FD3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68" t="14928" r="50466" b="57078"/>
          <a:stretch/>
        </p:blipFill>
        <p:spPr bwMode="gray">
          <a:xfrm rot="10800000">
            <a:off x="-8" y="1"/>
            <a:ext cx="12206519" cy="6317999"/>
          </a:xfrm>
          <a:prstGeom prst="rect">
            <a:avLst/>
          </a:prstGeom>
        </p:spPr>
      </p:pic>
      <p:sp>
        <p:nvSpPr>
          <p:cNvPr id="28" name="Freihandform 22">
            <a:extLst>
              <a:ext uri="{FF2B5EF4-FFF2-40B4-BE49-F238E27FC236}">
                <a16:creationId xmlns:a16="http://schemas.microsoft.com/office/drawing/2014/main" id="{33517879-5B85-40F6-B10A-ACCECB5A067D}"/>
              </a:ext>
            </a:extLst>
          </p:cNvPr>
          <p:cNvSpPr/>
          <p:nvPr userDrawn="1"/>
        </p:nvSpPr>
        <p:spPr bwMode="gray">
          <a:xfrm>
            <a:off x="5868278" y="0"/>
            <a:ext cx="6338237" cy="6858000"/>
          </a:xfrm>
          <a:custGeom>
            <a:avLst/>
            <a:gdLst>
              <a:gd name="connsiteX0" fmla="*/ 0 w 4778829"/>
              <a:gd name="connsiteY0" fmla="*/ 0 h 5170714"/>
              <a:gd name="connsiteX1" fmla="*/ 4778829 w 4778829"/>
              <a:gd name="connsiteY1" fmla="*/ 0 h 5170714"/>
              <a:gd name="connsiteX2" fmla="*/ 4778829 w 4778829"/>
              <a:gd name="connsiteY2" fmla="*/ 5170714 h 5170714"/>
              <a:gd name="connsiteX3" fmla="*/ 1175657 w 4778829"/>
              <a:gd name="connsiteY3" fmla="*/ 5170714 h 5170714"/>
              <a:gd name="connsiteX4" fmla="*/ 0 w 4778829"/>
              <a:gd name="connsiteY4" fmla="*/ 0 h 5170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78829" h="5170714">
                <a:moveTo>
                  <a:pt x="0" y="0"/>
                </a:moveTo>
                <a:lnTo>
                  <a:pt x="4778829" y="0"/>
                </a:lnTo>
                <a:lnTo>
                  <a:pt x="4778829" y="5170714"/>
                </a:lnTo>
                <a:lnTo>
                  <a:pt x="1175657" y="517071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17144C21-5DBC-4E9A-8365-3B68F68E146D}"/>
              </a:ext>
            </a:extLst>
          </p:cNvPr>
          <p:cNvSpPr/>
          <p:nvPr userDrawn="1"/>
        </p:nvSpPr>
        <p:spPr bwMode="gray">
          <a:xfrm>
            <a:off x="4896000" y="719983"/>
            <a:ext cx="4320003" cy="4320003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240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D465AF7-5505-4EB6-B212-0A1089202E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7825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4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D465AF7-5505-4EB6-B212-0A1089202E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A9F9EF0D-C34A-427A-819C-F098A1F297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E7D9AA52-BA42-4454-B84E-DB138FB64C2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8" y="6317458"/>
            <a:ext cx="118553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FF3E4E-F4C8-4A6B-AE7F-4DEE7CBD991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2FB2555-2ED1-412A-8C6E-07B8187F63A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4" name="Bildplatzhalter 7">
            <a:extLst>
              <a:ext uri="{FF2B5EF4-FFF2-40B4-BE49-F238E27FC236}">
                <a16:creationId xmlns:a16="http://schemas.microsoft.com/office/drawing/2014/main" id="{FB978D4F-CB03-4B41-A9B4-5E369C68D7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576000" y="719981"/>
            <a:ext cx="4320000" cy="4320000"/>
          </a:xfrm>
          <a:solidFill>
            <a:schemeClr val="bg1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A00D198C-4D90-44B9-8AA7-73EA263AEEA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33BEFB6-1239-4DAA-99F4-D7410912A1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63464" y="287446"/>
            <a:ext cx="5185077" cy="5185077"/>
          </a:xfrm>
          <a:custGeom>
            <a:avLst/>
            <a:gdLst>
              <a:gd name="connsiteX0" fmla="*/ 977002 w 5185077"/>
              <a:gd name="connsiteY0" fmla="*/ 0 h 5185077"/>
              <a:gd name="connsiteX1" fmla="*/ 5185077 w 5185077"/>
              <a:gd name="connsiteY1" fmla="*/ 977002 h 5185077"/>
              <a:gd name="connsiteX2" fmla="*/ 4208075 w 5185077"/>
              <a:gd name="connsiteY2" fmla="*/ 5185077 h 5185077"/>
              <a:gd name="connsiteX3" fmla="*/ 0 w 5185077"/>
              <a:gd name="connsiteY3" fmla="*/ 4208075 h 51850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5077" h="5185077">
                <a:moveTo>
                  <a:pt x="977002" y="0"/>
                </a:moveTo>
                <a:lnTo>
                  <a:pt x="5185077" y="977002"/>
                </a:lnTo>
                <a:lnTo>
                  <a:pt x="4208075" y="5185077"/>
                </a:lnTo>
                <a:lnTo>
                  <a:pt x="0" y="4208075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7BC4711-D31B-4CAE-A132-6C8DC6A67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28001" y="2207781"/>
            <a:ext cx="3600000" cy="1344407"/>
          </a:xfrm>
        </p:spPr>
        <p:txBody>
          <a:bodyPr anchor="ctr">
            <a:spAutoFit/>
          </a:bodyPr>
          <a:lstStyle>
            <a:lvl1pPr>
              <a:lnSpc>
                <a:spcPct val="91000"/>
              </a:lnSpc>
              <a:defRPr sz="3200" spc="-4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überschrif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4059104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03 mit Num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544ECB68-0FF7-4DFF-B3C7-8327A7D40E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53" t="24927" r="58695" b="47079"/>
          <a:stretch/>
        </p:blipFill>
        <p:spPr bwMode="gray">
          <a:xfrm rot="10800000">
            <a:off x="-5" y="-1"/>
            <a:ext cx="12087924" cy="6317997"/>
          </a:xfrm>
          <a:prstGeom prst="rect">
            <a:avLst/>
          </a:prstGeom>
        </p:spPr>
      </p:pic>
      <p:sp>
        <p:nvSpPr>
          <p:cNvPr id="15" name="Freihandform 22">
            <a:extLst>
              <a:ext uri="{FF2B5EF4-FFF2-40B4-BE49-F238E27FC236}">
                <a16:creationId xmlns:a16="http://schemas.microsoft.com/office/drawing/2014/main" id="{E23044D8-2C6A-49D6-8BAE-ACD3ED6438DC}"/>
              </a:ext>
            </a:extLst>
          </p:cNvPr>
          <p:cNvSpPr/>
          <p:nvPr userDrawn="1"/>
        </p:nvSpPr>
        <p:spPr bwMode="gray">
          <a:xfrm>
            <a:off x="9397401" y="0"/>
            <a:ext cx="2819335" cy="6858000"/>
          </a:xfrm>
          <a:custGeom>
            <a:avLst/>
            <a:gdLst>
              <a:gd name="connsiteX0" fmla="*/ 0 w 4778829"/>
              <a:gd name="connsiteY0" fmla="*/ 0 h 5170714"/>
              <a:gd name="connsiteX1" fmla="*/ 4778829 w 4778829"/>
              <a:gd name="connsiteY1" fmla="*/ 0 h 5170714"/>
              <a:gd name="connsiteX2" fmla="*/ 4778829 w 4778829"/>
              <a:gd name="connsiteY2" fmla="*/ 5170714 h 5170714"/>
              <a:gd name="connsiteX3" fmla="*/ 1175657 w 4778829"/>
              <a:gd name="connsiteY3" fmla="*/ 5170714 h 5170714"/>
              <a:gd name="connsiteX4" fmla="*/ 0 w 4778829"/>
              <a:gd name="connsiteY4" fmla="*/ 0 h 5170714"/>
              <a:gd name="connsiteX0" fmla="*/ 0 w 4778829"/>
              <a:gd name="connsiteY0" fmla="*/ 0 h 5170714"/>
              <a:gd name="connsiteX1" fmla="*/ 2973578 w 4778829"/>
              <a:gd name="connsiteY1" fmla="*/ 420856 h 5170714"/>
              <a:gd name="connsiteX2" fmla="*/ 4778829 w 4778829"/>
              <a:gd name="connsiteY2" fmla="*/ 5170714 h 5170714"/>
              <a:gd name="connsiteX3" fmla="*/ 1175657 w 4778829"/>
              <a:gd name="connsiteY3" fmla="*/ 5170714 h 5170714"/>
              <a:gd name="connsiteX4" fmla="*/ 0 w 4778829"/>
              <a:gd name="connsiteY4" fmla="*/ 0 h 5170714"/>
              <a:gd name="connsiteX0" fmla="*/ 0 w 4778829"/>
              <a:gd name="connsiteY0" fmla="*/ 0 h 5170714"/>
              <a:gd name="connsiteX1" fmla="*/ 2076491 w 4778829"/>
              <a:gd name="connsiteY1" fmla="*/ 0 h 5170714"/>
              <a:gd name="connsiteX2" fmla="*/ 4778829 w 4778829"/>
              <a:gd name="connsiteY2" fmla="*/ 5170714 h 5170714"/>
              <a:gd name="connsiteX3" fmla="*/ 1175657 w 4778829"/>
              <a:gd name="connsiteY3" fmla="*/ 5170714 h 5170714"/>
              <a:gd name="connsiteX4" fmla="*/ 0 w 4778829"/>
              <a:gd name="connsiteY4" fmla="*/ 0 h 5170714"/>
              <a:gd name="connsiteX0" fmla="*/ 0 w 2076491"/>
              <a:gd name="connsiteY0" fmla="*/ 0 h 5170714"/>
              <a:gd name="connsiteX1" fmla="*/ 2076491 w 2076491"/>
              <a:gd name="connsiteY1" fmla="*/ 0 h 5170714"/>
              <a:gd name="connsiteX2" fmla="*/ 2043266 w 2076491"/>
              <a:gd name="connsiteY2" fmla="*/ 5026737 h 5170714"/>
              <a:gd name="connsiteX3" fmla="*/ 1175657 w 2076491"/>
              <a:gd name="connsiteY3" fmla="*/ 5170714 h 5170714"/>
              <a:gd name="connsiteX4" fmla="*/ 0 w 2076491"/>
              <a:gd name="connsiteY4" fmla="*/ 0 h 5170714"/>
              <a:gd name="connsiteX0" fmla="*/ 0 w 2120792"/>
              <a:gd name="connsiteY0" fmla="*/ 0 h 5181789"/>
              <a:gd name="connsiteX1" fmla="*/ 2076491 w 2120792"/>
              <a:gd name="connsiteY1" fmla="*/ 0 h 5181789"/>
              <a:gd name="connsiteX2" fmla="*/ 2120792 w 2120792"/>
              <a:gd name="connsiteY2" fmla="*/ 5181789 h 5181789"/>
              <a:gd name="connsiteX3" fmla="*/ 1175657 w 2120792"/>
              <a:gd name="connsiteY3" fmla="*/ 5170714 h 5181789"/>
              <a:gd name="connsiteX4" fmla="*/ 0 w 2120792"/>
              <a:gd name="connsiteY4" fmla="*/ 0 h 5181789"/>
              <a:gd name="connsiteX0" fmla="*/ 0 w 2120792"/>
              <a:gd name="connsiteY0" fmla="*/ 0 h 5181789"/>
              <a:gd name="connsiteX1" fmla="*/ 2109717 w 2120792"/>
              <a:gd name="connsiteY1" fmla="*/ 11075 h 5181789"/>
              <a:gd name="connsiteX2" fmla="*/ 2120792 w 2120792"/>
              <a:gd name="connsiteY2" fmla="*/ 5181789 h 5181789"/>
              <a:gd name="connsiteX3" fmla="*/ 1175657 w 2120792"/>
              <a:gd name="connsiteY3" fmla="*/ 5170714 h 5181789"/>
              <a:gd name="connsiteX4" fmla="*/ 0 w 2120792"/>
              <a:gd name="connsiteY4" fmla="*/ 0 h 5181789"/>
              <a:gd name="connsiteX0" fmla="*/ 0 w 2121857"/>
              <a:gd name="connsiteY0" fmla="*/ 0 h 5181789"/>
              <a:gd name="connsiteX1" fmla="*/ 2120792 w 2121857"/>
              <a:gd name="connsiteY1" fmla="*/ 0 h 5181789"/>
              <a:gd name="connsiteX2" fmla="*/ 2120792 w 2121857"/>
              <a:gd name="connsiteY2" fmla="*/ 5181789 h 5181789"/>
              <a:gd name="connsiteX3" fmla="*/ 1175657 w 2121857"/>
              <a:gd name="connsiteY3" fmla="*/ 5170714 h 5181789"/>
              <a:gd name="connsiteX4" fmla="*/ 0 w 2121857"/>
              <a:gd name="connsiteY4" fmla="*/ 0 h 5181789"/>
              <a:gd name="connsiteX0" fmla="*/ 0 w 2120912"/>
              <a:gd name="connsiteY0" fmla="*/ 0 h 5170714"/>
              <a:gd name="connsiteX1" fmla="*/ 2120792 w 2120912"/>
              <a:gd name="connsiteY1" fmla="*/ 0 h 5170714"/>
              <a:gd name="connsiteX2" fmla="*/ 2045922 w 2120912"/>
              <a:gd name="connsiteY2" fmla="*/ 5119398 h 5170714"/>
              <a:gd name="connsiteX3" fmla="*/ 1175657 w 2120912"/>
              <a:gd name="connsiteY3" fmla="*/ 5170714 h 5170714"/>
              <a:gd name="connsiteX4" fmla="*/ 0 w 2120912"/>
              <a:gd name="connsiteY4" fmla="*/ 0 h 5170714"/>
              <a:gd name="connsiteX0" fmla="*/ 0 w 2121251"/>
              <a:gd name="connsiteY0" fmla="*/ 0 h 5173471"/>
              <a:gd name="connsiteX1" fmla="*/ 2120792 w 2121251"/>
              <a:gd name="connsiteY1" fmla="*/ 0 h 5173471"/>
              <a:gd name="connsiteX2" fmla="*/ 2108314 w 2121251"/>
              <a:gd name="connsiteY2" fmla="*/ 5173471 h 5173471"/>
              <a:gd name="connsiteX3" fmla="*/ 1175657 w 2121251"/>
              <a:gd name="connsiteY3" fmla="*/ 5170714 h 5173471"/>
              <a:gd name="connsiteX4" fmla="*/ 0 w 2121251"/>
              <a:gd name="connsiteY4" fmla="*/ 0 h 5173471"/>
              <a:gd name="connsiteX0" fmla="*/ 0 w 2121358"/>
              <a:gd name="connsiteY0" fmla="*/ 0 h 5173471"/>
              <a:gd name="connsiteX1" fmla="*/ 2120792 w 2121358"/>
              <a:gd name="connsiteY1" fmla="*/ 0 h 5173471"/>
              <a:gd name="connsiteX2" fmla="*/ 2112473 w 2121358"/>
              <a:gd name="connsiteY2" fmla="*/ 5173471 h 5173471"/>
              <a:gd name="connsiteX3" fmla="*/ 1175657 w 2121358"/>
              <a:gd name="connsiteY3" fmla="*/ 5170714 h 5173471"/>
              <a:gd name="connsiteX4" fmla="*/ 0 w 2121358"/>
              <a:gd name="connsiteY4" fmla="*/ 0 h 5173471"/>
              <a:gd name="connsiteX0" fmla="*/ 0 w 2121857"/>
              <a:gd name="connsiteY0" fmla="*/ 0 h 5170714"/>
              <a:gd name="connsiteX1" fmla="*/ 2120792 w 2121857"/>
              <a:gd name="connsiteY1" fmla="*/ 0 h 5170714"/>
              <a:gd name="connsiteX2" fmla="*/ 2120792 w 2121857"/>
              <a:gd name="connsiteY2" fmla="*/ 5169312 h 5170714"/>
              <a:gd name="connsiteX3" fmla="*/ 1175657 w 2121857"/>
              <a:gd name="connsiteY3" fmla="*/ 5170714 h 5170714"/>
              <a:gd name="connsiteX4" fmla="*/ 0 w 2121857"/>
              <a:gd name="connsiteY4" fmla="*/ 0 h 5170714"/>
              <a:gd name="connsiteX0" fmla="*/ 0 w 2120792"/>
              <a:gd name="connsiteY0" fmla="*/ 0 h 5170714"/>
              <a:gd name="connsiteX1" fmla="*/ 2116634 w 2120792"/>
              <a:gd name="connsiteY1" fmla="*/ 8319 h 5170714"/>
              <a:gd name="connsiteX2" fmla="*/ 2120792 w 2120792"/>
              <a:gd name="connsiteY2" fmla="*/ 5169312 h 5170714"/>
              <a:gd name="connsiteX3" fmla="*/ 1175657 w 2120792"/>
              <a:gd name="connsiteY3" fmla="*/ 5170714 h 5170714"/>
              <a:gd name="connsiteX4" fmla="*/ 0 w 2120792"/>
              <a:gd name="connsiteY4" fmla="*/ 0 h 5170714"/>
              <a:gd name="connsiteX0" fmla="*/ 0 w 2121859"/>
              <a:gd name="connsiteY0" fmla="*/ 4160 h 5174874"/>
              <a:gd name="connsiteX1" fmla="*/ 2120794 w 2121859"/>
              <a:gd name="connsiteY1" fmla="*/ 0 h 5174874"/>
              <a:gd name="connsiteX2" fmla="*/ 2120792 w 2121859"/>
              <a:gd name="connsiteY2" fmla="*/ 5173472 h 5174874"/>
              <a:gd name="connsiteX3" fmla="*/ 1175657 w 2121859"/>
              <a:gd name="connsiteY3" fmla="*/ 5174874 h 5174874"/>
              <a:gd name="connsiteX4" fmla="*/ 0 w 2121859"/>
              <a:gd name="connsiteY4" fmla="*/ 4160 h 5174874"/>
              <a:gd name="connsiteX0" fmla="*/ 0 w 2120792"/>
              <a:gd name="connsiteY0" fmla="*/ 0 h 5170714"/>
              <a:gd name="connsiteX1" fmla="*/ 2116634 w 2120792"/>
              <a:gd name="connsiteY1" fmla="*/ 4159 h 5170714"/>
              <a:gd name="connsiteX2" fmla="*/ 2120792 w 2120792"/>
              <a:gd name="connsiteY2" fmla="*/ 5169312 h 5170714"/>
              <a:gd name="connsiteX3" fmla="*/ 1175657 w 2120792"/>
              <a:gd name="connsiteY3" fmla="*/ 5170714 h 5170714"/>
              <a:gd name="connsiteX4" fmla="*/ 0 w 2120792"/>
              <a:gd name="connsiteY4" fmla="*/ 0 h 5170714"/>
              <a:gd name="connsiteX0" fmla="*/ 0 w 2121858"/>
              <a:gd name="connsiteY0" fmla="*/ 4160 h 5174874"/>
              <a:gd name="connsiteX1" fmla="*/ 2120793 w 2121858"/>
              <a:gd name="connsiteY1" fmla="*/ 0 h 5174874"/>
              <a:gd name="connsiteX2" fmla="*/ 2120792 w 2121858"/>
              <a:gd name="connsiteY2" fmla="*/ 5173472 h 5174874"/>
              <a:gd name="connsiteX3" fmla="*/ 1175657 w 2121858"/>
              <a:gd name="connsiteY3" fmla="*/ 5174874 h 5174874"/>
              <a:gd name="connsiteX4" fmla="*/ 0 w 2121858"/>
              <a:gd name="connsiteY4" fmla="*/ 4160 h 5174874"/>
              <a:gd name="connsiteX0" fmla="*/ 0 w 2125690"/>
              <a:gd name="connsiteY0" fmla="*/ 0 h 5170714"/>
              <a:gd name="connsiteX1" fmla="*/ 2124952 w 2125690"/>
              <a:gd name="connsiteY1" fmla="*/ 0 h 5170714"/>
              <a:gd name="connsiteX2" fmla="*/ 2120792 w 2125690"/>
              <a:gd name="connsiteY2" fmla="*/ 5169312 h 5170714"/>
              <a:gd name="connsiteX3" fmla="*/ 1175657 w 2125690"/>
              <a:gd name="connsiteY3" fmla="*/ 5170714 h 5170714"/>
              <a:gd name="connsiteX4" fmla="*/ 0 w 2125690"/>
              <a:gd name="connsiteY4" fmla="*/ 0 h 5170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5690" h="5170714">
                <a:moveTo>
                  <a:pt x="0" y="0"/>
                </a:moveTo>
                <a:lnTo>
                  <a:pt x="2124952" y="0"/>
                </a:lnTo>
                <a:cubicBezTo>
                  <a:pt x="2128644" y="1723571"/>
                  <a:pt x="2117100" y="3445741"/>
                  <a:pt x="2120792" y="5169312"/>
                </a:cubicBezTo>
                <a:lnTo>
                  <a:pt x="1175657" y="517071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D465AF7-5505-4EB6-B212-0A1089202E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3709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13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D465AF7-5505-4EB6-B212-0A1089202E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A9F9EF0D-C34A-427A-819C-F098A1F297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F693DCC-B73B-4670-9202-19107BA790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CFF723-D7E3-4446-B8CF-0E726FBB9B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93D3E608-AF21-4FAF-BFAD-4472E66FF78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8" y="6317458"/>
            <a:ext cx="118553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>
            <a:extLst>
              <a:ext uri="{FF2B5EF4-FFF2-40B4-BE49-F238E27FC236}">
                <a16:creationId xmlns:a16="http://schemas.microsoft.com/office/drawing/2014/main" id="{8EA2A793-5D6A-4542-9B73-F2CC2CEEDDF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sp>
        <p:nvSpPr>
          <p:cNvPr id="13" name="Freihandform 2">
            <a:extLst>
              <a:ext uri="{FF2B5EF4-FFF2-40B4-BE49-F238E27FC236}">
                <a16:creationId xmlns:a16="http://schemas.microsoft.com/office/drawing/2014/main" id="{B23A34E3-5B78-493C-A56F-341313D9743A}"/>
              </a:ext>
            </a:extLst>
          </p:cNvPr>
          <p:cNvSpPr/>
          <p:nvPr userDrawn="1"/>
        </p:nvSpPr>
        <p:spPr bwMode="gray">
          <a:xfrm>
            <a:off x="1741715" y="0"/>
            <a:ext cx="5088293" cy="3893976"/>
          </a:xfrm>
          <a:custGeom>
            <a:avLst/>
            <a:gdLst>
              <a:gd name="connsiteX0" fmla="*/ 0 w 3816220"/>
              <a:gd name="connsiteY0" fmla="*/ 0 h 2920482"/>
              <a:gd name="connsiteX1" fmla="*/ 676469 w 3816220"/>
              <a:gd name="connsiteY1" fmla="*/ 2920482 h 2920482"/>
              <a:gd name="connsiteX2" fmla="*/ 3816220 w 3816220"/>
              <a:gd name="connsiteY2" fmla="*/ 2202024 h 2920482"/>
              <a:gd name="connsiteX3" fmla="*/ 3303036 w 3816220"/>
              <a:gd name="connsiteY3" fmla="*/ 0 h 2920482"/>
              <a:gd name="connsiteX4" fmla="*/ 0 w 3816220"/>
              <a:gd name="connsiteY4" fmla="*/ 0 h 2920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16220" h="2920482">
                <a:moveTo>
                  <a:pt x="0" y="0"/>
                </a:moveTo>
                <a:lnTo>
                  <a:pt x="676469" y="2920482"/>
                </a:lnTo>
                <a:lnTo>
                  <a:pt x="3816220" y="2202024"/>
                </a:lnTo>
                <a:lnTo>
                  <a:pt x="33030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7BC4711-D31B-4CAE-A132-6C8DC6A67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544000" y="1482375"/>
            <a:ext cx="3528000" cy="784189"/>
          </a:xfrm>
        </p:spPr>
        <p:txBody>
          <a:bodyPr wrap="square" anchor="ctr">
            <a:spAutoFit/>
          </a:bodyPr>
          <a:lstStyle>
            <a:lvl1pPr>
              <a:lnSpc>
                <a:spcPct val="91000"/>
              </a:lnSpc>
              <a:defRPr sz="2800" spc="-40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überschrift durch Klicken bearbeiten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DA2C09FA-10FC-49C0-918E-6CF62C8314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7439999" y="2879999"/>
            <a:ext cx="1452962" cy="1354217"/>
          </a:xfrm>
        </p:spPr>
        <p:txBody>
          <a:bodyPr wrap="none" anchor="ctr">
            <a:sp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8800" b="1" spc="-240" baseline="0">
                <a:solidFill>
                  <a:schemeClr val="bg1"/>
                </a:solidFill>
              </a:defRPr>
            </a:lvl1pPr>
            <a:lvl2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8800" b="1" spc="-240" baseline="0">
                <a:solidFill>
                  <a:schemeClr val="tx1"/>
                </a:solidFill>
              </a:defRPr>
            </a:lvl2pPr>
            <a:lvl3pPr marL="0" indent="0" algn="r">
              <a:lnSpc>
                <a:spcPct val="100000"/>
              </a:lnSpc>
              <a:buNone/>
              <a:defRPr sz="8800" b="1" spc="-240" baseline="0">
                <a:solidFill>
                  <a:schemeClr val="tx1"/>
                </a:solidFill>
              </a:defRPr>
            </a:lvl3pPr>
            <a:lvl4pPr marL="0" indent="0" algn="r">
              <a:lnSpc>
                <a:spcPct val="100000"/>
              </a:lnSpc>
              <a:buNone/>
              <a:defRPr sz="8800" b="1" spc="-240" baseline="0">
                <a:solidFill>
                  <a:schemeClr val="tx1"/>
                </a:solidFill>
              </a:defRPr>
            </a:lvl4pPr>
            <a:lvl5pPr marL="0" indent="0" algn="r">
              <a:lnSpc>
                <a:spcPct val="100000"/>
              </a:lnSpc>
              <a:buNone/>
              <a:defRPr sz="8800" b="1" spc="-24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X.X</a:t>
            </a:r>
          </a:p>
        </p:txBody>
      </p:sp>
    </p:spTree>
    <p:extLst>
      <p:ext uri="{BB962C8B-B14F-4D97-AF65-F5344CB8AC3E}">
        <p14:creationId xmlns:p14="http://schemas.microsoft.com/office/powerpoint/2010/main" val="24850716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03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544ECB68-0FF7-4DFF-B3C7-8327A7D40E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53" t="24927" r="58695" b="47079"/>
          <a:stretch/>
        </p:blipFill>
        <p:spPr bwMode="gray">
          <a:xfrm rot="10800000">
            <a:off x="-5" y="-1"/>
            <a:ext cx="12087924" cy="6317997"/>
          </a:xfrm>
          <a:prstGeom prst="rect">
            <a:avLst/>
          </a:prstGeom>
        </p:spPr>
      </p:pic>
      <p:sp>
        <p:nvSpPr>
          <p:cNvPr id="15" name="Freihandform 22">
            <a:extLst>
              <a:ext uri="{FF2B5EF4-FFF2-40B4-BE49-F238E27FC236}">
                <a16:creationId xmlns:a16="http://schemas.microsoft.com/office/drawing/2014/main" id="{E23044D8-2C6A-49D6-8BAE-ACD3ED6438DC}"/>
              </a:ext>
            </a:extLst>
          </p:cNvPr>
          <p:cNvSpPr/>
          <p:nvPr userDrawn="1"/>
        </p:nvSpPr>
        <p:spPr bwMode="gray">
          <a:xfrm>
            <a:off x="9397401" y="0"/>
            <a:ext cx="2819335" cy="6858000"/>
          </a:xfrm>
          <a:custGeom>
            <a:avLst/>
            <a:gdLst>
              <a:gd name="connsiteX0" fmla="*/ 0 w 4778829"/>
              <a:gd name="connsiteY0" fmla="*/ 0 h 5170714"/>
              <a:gd name="connsiteX1" fmla="*/ 4778829 w 4778829"/>
              <a:gd name="connsiteY1" fmla="*/ 0 h 5170714"/>
              <a:gd name="connsiteX2" fmla="*/ 4778829 w 4778829"/>
              <a:gd name="connsiteY2" fmla="*/ 5170714 h 5170714"/>
              <a:gd name="connsiteX3" fmla="*/ 1175657 w 4778829"/>
              <a:gd name="connsiteY3" fmla="*/ 5170714 h 5170714"/>
              <a:gd name="connsiteX4" fmla="*/ 0 w 4778829"/>
              <a:gd name="connsiteY4" fmla="*/ 0 h 5170714"/>
              <a:gd name="connsiteX0" fmla="*/ 0 w 4778829"/>
              <a:gd name="connsiteY0" fmla="*/ 0 h 5170714"/>
              <a:gd name="connsiteX1" fmla="*/ 2973578 w 4778829"/>
              <a:gd name="connsiteY1" fmla="*/ 420856 h 5170714"/>
              <a:gd name="connsiteX2" fmla="*/ 4778829 w 4778829"/>
              <a:gd name="connsiteY2" fmla="*/ 5170714 h 5170714"/>
              <a:gd name="connsiteX3" fmla="*/ 1175657 w 4778829"/>
              <a:gd name="connsiteY3" fmla="*/ 5170714 h 5170714"/>
              <a:gd name="connsiteX4" fmla="*/ 0 w 4778829"/>
              <a:gd name="connsiteY4" fmla="*/ 0 h 5170714"/>
              <a:gd name="connsiteX0" fmla="*/ 0 w 4778829"/>
              <a:gd name="connsiteY0" fmla="*/ 0 h 5170714"/>
              <a:gd name="connsiteX1" fmla="*/ 2076491 w 4778829"/>
              <a:gd name="connsiteY1" fmla="*/ 0 h 5170714"/>
              <a:gd name="connsiteX2" fmla="*/ 4778829 w 4778829"/>
              <a:gd name="connsiteY2" fmla="*/ 5170714 h 5170714"/>
              <a:gd name="connsiteX3" fmla="*/ 1175657 w 4778829"/>
              <a:gd name="connsiteY3" fmla="*/ 5170714 h 5170714"/>
              <a:gd name="connsiteX4" fmla="*/ 0 w 4778829"/>
              <a:gd name="connsiteY4" fmla="*/ 0 h 5170714"/>
              <a:gd name="connsiteX0" fmla="*/ 0 w 2076491"/>
              <a:gd name="connsiteY0" fmla="*/ 0 h 5170714"/>
              <a:gd name="connsiteX1" fmla="*/ 2076491 w 2076491"/>
              <a:gd name="connsiteY1" fmla="*/ 0 h 5170714"/>
              <a:gd name="connsiteX2" fmla="*/ 2043266 w 2076491"/>
              <a:gd name="connsiteY2" fmla="*/ 5026737 h 5170714"/>
              <a:gd name="connsiteX3" fmla="*/ 1175657 w 2076491"/>
              <a:gd name="connsiteY3" fmla="*/ 5170714 h 5170714"/>
              <a:gd name="connsiteX4" fmla="*/ 0 w 2076491"/>
              <a:gd name="connsiteY4" fmla="*/ 0 h 5170714"/>
              <a:gd name="connsiteX0" fmla="*/ 0 w 2120792"/>
              <a:gd name="connsiteY0" fmla="*/ 0 h 5181789"/>
              <a:gd name="connsiteX1" fmla="*/ 2076491 w 2120792"/>
              <a:gd name="connsiteY1" fmla="*/ 0 h 5181789"/>
              <a:gd name="connsiteX2" fmla="*/ 2120792 w 2120792"/>
              <a:gd name="connsiteY2" fmla="*/ 5181789 h 5181789"/>
              <a:gd name="connsiteX3" fmla="*/ 1175657 w 2120792"/>
              <a:gd name="connsiteY3" fmla="*/ 5170714 h 5181789"/>
              <a:gd name="connsiteX4" fmla="*/ 0 w 2120792"/>
              <a:gd name="connsiteY4" fmla="*/ 0 h 5181789"/>
              <a:gd name="connsiteX0" fmla="*/ 0 w 2120792"/>
              <a:gd name="connsiteY0" fmla="*/ 0 h 5181789"/>
              <a:gd name="connsiteX1" fmla="*/ 2109717 w 2120792"/>
              <a:gd name="connsiteY1" fmla="*/ 11075 h 5181789"/>
              <a:gd name="connsiteX2" fmla="*/ 2120792 w 2120792"/>
              <a:gd name="connsiteY2" fmla="*/ 5181789 h 5181789"/>
              <a:gd name="connsiteX3" fmla="*/ 1175657 w 2120792"/>
              <a:gd name="connsiteY3" fmla="*/ 5170714 h 5181789"/>
              <a:gd name="connsiteX4" fmla="*/ 0 w 2120792"/>
              <a:gd name="connsiteY4" fmla="*/ 0 h 5181789"/>
              <a:gd name="connsiteX0" fmla="*/ 0 w 2121857"/>
              <a:gd name="connsiteY0" fmla="*/ 0 h 5181789"/>
              <a:gd name="connsiteX1" fmla="*/ 2120792 w 2121857"/>
              <a:gd name="connsiteY1" fmla="*/ 0 h 5181789"/>
              <a:gd name="connsiteX2" fmla="*/ 2120792 w 2121857"/>
              <a:gd name="connsiteY2" fmla="*/ 5181789 h 5181789"/>
              <a:gd name="connsiteX3" fmla="*/ 1175657 w 2121857"/>
              <a:gd name="connsiteY3" fmla="*/ 5170714 h 5181789"/>
              <a:gd name="connsiteX4" fmla="*/ 0 w 2121857"/>
              <a:gd name="connsiteY4" fmla="*/ 0 h 5181789"/>
              <a:gd name="connsiteX0" fmla="*/ 0 w 2120912"/>
              <a:gd name="connsiteY0" fmla="*/ 0 h 5170714"/>
              <a:gd name="connsiteX1" fmla="*/ 2120792 w 2120912"/>
              <a:gd name="connsiteY1" fmla="*/ 0 h 5170714"/>
              <a:gd name="connsiteX2" fmla="*/ 2045922 w 2120912"/>
              <a:gd name="connsiteY2" fmla="*/ 5119398 h 5170714"/>
              <a:gd name="connsiteX3" fmla="*/ 1175657 w 2120912"/>
              <a:gd name="connsiteY3" fmla="*/ 5170714 h 5170714"/>
              <a:gd name="connsiteX4" fmla="*/ 0 w 2120912"/>
              <a:gd name="connsiteY4" fmla="*/ 0 h 5170714"/>
              <a:gd name="connsiteX0" fmla="*/ 0 w 2121251"/>
              <a:gd name="connsiteY0" fmla="*/ 0 h 5173471"/>
              <a:gd name="connsiteX1" fmla="*/ 2120792 w 2121251"/>
              <a:gd name="connsiteY1" fmla="*/ 0 h 5173471"/>
              <a:gd name="connsiteX2" fmla="*/ 2108314 w 2121251"/>
              <a:gd name="connsiteY2" fmla="*/ 5173471 h 5173471"/>
              <a:gd name="connsiteX3" fmla="*/ 1175657 w 2121251"/>
              <a:gd name="connsiteY3" fmla="*/ 5170714 h 5173471"/>
              <a:gd name="connsiteX4" fmla="*/ 0 w 2121251"/>
              <a:gd name="connsiteY4" fmla="*/ 0 h 5173471"/>
              <a:gd name="connsiteX0" fmla="*/ 0 w 2121358"/>
              <a:gd name="connsiteY0" fmla="*/ 0 h 5173471"/>
              <a:gd name="connsiteX1" fmla="*/ 2120792 w 2121358"/>
              <a:gd name="connsiteY1" fmla="*/ 0 h 5173471"/>
              <a:gd name="connsiteX2" fmla="*/ 2112473 w 2121358"/>
              <a:gd name="connsiteY2" fmla="*/ 5173471 h 5173471"/>
              <a:gd name="connsiteX3" fmla="*/ 1175657 w 2121358"/>
              <a:gd name="connsiteY3" fmla="*/ 5170714 h 5173471"/>
              <a:gd name="connsiteX4" fmla="*/ 0 w 2121358"/>
              <a:gd name="connsiteY4" fmla="*/ 0 h 5173471"/>
              <a:gd name="connsiteX0" fmla="*/ 0 w 2121857"/>
              <a:gd name="connsiteY0" fmla="*/ 0 h 5170714"/>
              <a:gd name="connsiteX1" fmla="*/ 2120792 w 2121857"/>
              <a:gd name="connsiteY1" fmla="*/ 0 h 5170714"/>
              <a:gd name="connsiteX2" fmla="*/ 2120792 w 2121857"/>
              <a:gd name="connsiteY2" fmla="*/ 5169312 h 5170714"/>
              <a:gd name="connsiteX3" fmla="*/ 1175657 w 2121857"/>
              <a:gd name="connsiteY3" fmla="*/ 5170714 h 5170714"/>
              <a:gd name="connsiteX4" fmla="*/ 0 w 2121857"/>
              <a:gd name="connsiteY4" fmla="*/ 0 h 5170714"/>
              <a:gd name="connsiteX0" fmla="*/ 0 w 2120792"/>
              <a:gd name="connsiteY0" fmla="*/ 0 h 5170714"/>
              <a:gd name="connsiteX1" fmla="*/ 2116634 w 2120792"/>
              <a:gd name="connsiteY1" fmla="*/ 8319 h 5170714"/>
              <a:gd name="connsiteX2" fmla="*/ 2120792 w 2120792"/>
              <a:gd name="connsiteY2" fmla="*/ 5169312 h 5170714"/>
              <a:gd name="connsiteX3" fmla="*/ 1175657 w 2120792"/>
              <a:gd name="connsiteY3" fmla="*/ 5170714 h 5170714"/>
              <a:gd name="connsiteX4" fmla="*/ 0 w 2120792"/>
              <a:gd name="connsiteY4" fmla="*/ 0 h 5170714"/>
              <a:gd name="connsiteX0" fmla="*/ 0 w 2121859"/>
              <a:gd name="connsiteY0" fmla="*/ 4160 h 5174874"/>
              <a:gd name="connsiteX1" fmla="*/ 2120794 w 2121859"/>
              <a:gd name="connsiteY1" fmla="*/ 0 h 5174874"/>
              <a:gd name="connsiteX2" fmla="*/ 2120792 w 2121859"/>
              <a:gd name="connsiteY2" fmla="*/ 5173472 h 5174874"/>
              <a:gd name="connsiteX3" fmla="*/ 1175657 w 2121859"/>
              <a:gd name="connsiteY3" fmla="*/ 5174874 h 5174874"/>
              <a:gd name="connsiteX4" fmla="*/ 0 w 2121859"/>
              <a:gd name="connsiteY4" fmla="*/ 4160 h 5174874"/>
              <a:gd name="connsiteX0" fmla="*/ 0 w 2120792"/>
              <a:gd name="connsiteY0" fmla="*/ 0 h 5170714"/>
              <a:gd name="connsiteX1" fmla="*/ 2116634 w 2120792"/>
              <a:gd name="connsiteY1" fmla="*/ 4159 h 5170714"/>
              <a:gd name="connsiteX2" fmla="*/ 2120792 w 2120792"/>
              <a:gd name="connsiteY2" fmla="*/ 5169312 h 5170714"/>
              <a:gd name="connsiteX3" fmla="*/ 1175657 w 2120792"/>
              <a:gd name="connsiteY3" fmla="*/ 5170714 h 5170714"/>
              <a:gd name="connsiteX4" fmla="*/ 0 w 2120792"/>
              <a:gd name="connsiteY4" fmla="*/ 0 h 5170714"/>
              <a:gd name="connsiteX0" fmla="*/ 0 w 2121858"/>
              <a:gd name="connsiteY0" fmla="*/ 4160 h 5174874"/>
              <a:gd name="connsiteX1" fmla="*/ 2120793 w 2121858"/>
              <a:gd name="connsiteY1" fmla="*/ 0 h 5174874"/>
              <a:gd name="connsiteX2" fmla="*/ 2120792 w 2121858"/>
              <a:gd name="connsiteY2" fmla="*/ 5173472 h 5174874"/>
              <a:gd name="connsiteX3" fmla="*/ 1175657 w 2121858"/>
              <a:gd name="connsiteY3" fmla="*/ 5174874 h 5174874"/>
              <a:gd name="connsiteX4" fmla="*/ 0 w 2121858"/>
              <a:gd name="connsiteY4" fmla="*/ 4160 h 5174874"/>
              <a:gd name="connsiteX0" fmla="*/ 0 w 2125690"/>
              <a:gd name="connsiteY0" fmla="*/ 0 h 5170714"/>
              <a:gd name="connsiteX1" fmla="*/ 2124952 w 2125690"/>
              <a:gd name="connsiteY1" fmla="*/ 0 h 5170714"/>
              <a:gd name="connsiteX2" fmla="*/ 2120792 w 2125690"/>
              <a:gd name="connsiteY2" fmla="*/ 5169312 h 5170714"/>
              <a:gd name="connsiteX3" fmla="*/ 1175657 w 2125690"/>
              <a:gd name="connsiteY3" fmla="*/ 5170714 h 5170714"/>
              <a:gd name="connsiteX4" fmla="*/ 0 w 2125690"/>
              <a:gd name="connsiteY4" fmla="*/ 0 h 5170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5690" h="5170714">
                <a:moveTo>
                  <a:pt x="0" y="0"/>
                </a:moveTo>
                <a:lnTo>
                  <a:pt x="2124952" y="0"/>
                </a:lnTo>
                <a:cubicBezTo>
                  <a:pt x="2128644" y="1723571"/>
                  <a:pt x="2117100" y="3445741"/>
                  <a:pt x="2120792" y="5169312"/>
                </a:cubicBezTo>
                <a:lnTo>
                  <a:pt x="1175657" y="517071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D465AF7-5505-4EB6-B212-0A1089202E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3781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89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D465AF7-5505-4EB6-B212-0A1089202E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A9F9EF0D-C34A-427A-819C-F098A1F297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F693DCC-B73B-4670-9202-19107BA790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CFF723-D7E3-4446-B8CF-0E726FBB9B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93D3E608-AF21-4FAF-BFAD-4472E66FF78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8" y="6317458"/>
            <a:ext cx="118553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F7BC4711-D31B-4CAE-A132-6C8DC6A67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285862" y="4365104"/>
            <a:ext cx="5400000" cy="784189"/>
          </a:xfrm>
        </p:spPr>
        <p:txBody>
          <a:bodyPr anchor="ctr">
            <a:spAutoFit/>
          </a:bodyPr>
          <a:lstStyle>
            <a:lvl1pPr>
              <a:lnSpc>
                <a:spcPct val="91000"/>
              </a:lnSpc>
              <a:defRPr sz="2800" spc="-4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überschrift durch Klicken bearbeiten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55C16364-4B9F-4351-85CC-8E18BDD3DE4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1741716" y="0"/>
            <a:ext cx="5088293" cy="3893976"/>
          </a:xfrm>
          <a:custGeom>
            <a:avLst/>
            <a:gdLst>
              <a:gd name="connsiteX0" fmla="*/ 0 w 5088293"/>
              <a:gd name="connsiteY0" fmla="*/ 0 h 3893976"/>
              <a:gd name="connsiteX1" fmla="*/ 4404048 w 5088293"/>
              <a:gd name="connsiteY1" fmla="*/ 0 h 3893976"/>
              <a:gd name="connsiteX2" fmla="*/ 5088293 w 5088293"/>
              <a:gd name="connsiteY2" fmla="*/ 2936032 h 3893976"/>
              <a:gd name="connsiteX3" fmla="*/ 901959 w 5088293"/>
              <a:gd name="connsiteY3" fmla="*/ 3893976 h 3893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88293" h="3893976">
                <a:moveTo>
                  <a:pt x="0" y="0"/>
                </a:moveTo>
                <a:lnTo>
                  <a:pt x="4404048" y="0"/>
                </a:lnTo>
                <a:lnTo>
                  <a:pt x="5088293" y="2936032"/>
                </a:lnTo>
                <a:lnTo>
                  <a:pt x="901959" y="3893976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txBody>
          <a:bodyPr wrap="square" lIns="72000">
            <a:noAutofit/>
          </a:bodyPr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8EA2A793-5D6A-4542-9B73-F2CC2CEEDDF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6166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04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B5E85443-2D4B-4FDB-B496-F2CA2ED9360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-8" y="0"/>
            <a:ext cx="7427580" cy="6858000"/>
          </a:xfrm>
          <a:custGeom>
            <a:avLst/>
            <a:gdLst>
              <a:gd name="connsiteX0" fmla="*/ 0 w 7427580"/>
              <a:gd name="connsiteY0" fmla="*/ 0 h 6858000"/>
              <a:gd name="connsiteX1" fmla="*/ 5868287 w 7427580"/>
              <a:gd name="connsiteY1" fmla="*/ 0 h 6858000"/>
              <a:gd name="connsiteX2" fmla="*/ 7427580 w 7427580"/>
              <a:gd name="connsiteY2" fmla="*/ 6858000 h 6858000"/>
              <a:gd name="connsiteX3" fmla="*/ 0 w 742758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27580" h="6858000">
                <a:moveTo>
                  <a:pt x="0" y="0"/>
                </a:moveTo>
                <a:lnTo>
                  <a:pt x="5868287" y="0"/>
                </a:lnTo>
                <a:lnTo>
                  <a:pt x="742758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D465AF7-5505-4EB6-B212-0A1089202E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6652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5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D465AF7-5505-4EB6-B212-0A1089202E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A9F9EF0D-C34A-427A-819C-F098A1F297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4DA30996-C27C-4DAD-82D5-502DC22EC03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9831968" y="5045190"/>
            <a:ext cx="1664632" cy="1084110"/>
          </a:xfrm>
          <a:prstGeom prst="rect">
            <a:avLst/>
          </a:prstGeom>
        </p:spPr>
      </p:pic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70087C0-3568-45FD-9C87-E424902B48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800001" y="719983"/>
            <a:ext cx="4320002" cy="4320003"/>
          </a:xfrm>
          <a:custGeom>
            <a:avLst/>
            <a:gdLst>
              <a:gd name="connsiteX0" fmla="*/ 0 w 4320002"/>
              <a:gd name="connsiteY0" fmla="*/ 0 h 4320003"/>
              <a:gd name="connsiteX1" fmla="*/ 4320002 w 4320002"/>
              <a:gd name="connsiteY1" fmla="*/ 0 h 4320003"/>
              <a:gd name="connsiteX2" fmla="*/ 4320002 w 4320002"/>
              <a:gd name="connsiteY2" fmla="*/ 4320003 h 4320003"/>
              <a:gd name="connsiteX3" fmla="*/ 0 w 4320002"/>
              <a:gd name="connsiteY3" fmla="*/ 4320003 h 4320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20002" h="4320003">
                <a:moveTo>
                  <a:pt x="0" y="0"/>
                </a:moveTo>
                <a:lnTo>
                  <a:pt x="4320002" y="0"/>
                </a:lnTo>
                <a:lnTo>
                  <a:pt x="4320002" y="4320003"/>
                </a:lnTo>
                <a:lnTo>
                  <a:pt x="0" y="4320003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2D727DD-9096-4668-A378-69890C9500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367464" y="287446"/>
            <a:ext cx="5185077" cy="5185077"/>
          </a:xfrm>
          <a:custGeom>
            <a:avLst/>
            <a:gdLst>
              <a:gd name="connsiteX0" fmla="*/ 977003 w 5185077"/>
              <a:gd name="connsiteY0" fmla="*/ 0 h 5185077"/>
              <a:gd name="connsiteX1" fmla="*/ 5185077 w 5185077"/>
              <a:gd name="connsiteY1" fmla="*/ 977003 h 5185077"/>
              <a:gd name="connsiteX2" fmla="*/ 4208075 w 5185077"/>
              <a:gd name="connsiteY2" fmla="*/ 5185077 h 5185077"/>
              <a:gd name="connsiteX3" fmla="*/ 0 w 5185077"/>
              <a:gd name="connsiteY3" fmla="*/ 4208075 h 51850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5077" h="5185077">
                <a:moveTo>
                  <a:pt x="977003" y="0"/>
                </a:moveTo>
                <a:lnTo>
                  <a:pt x="5185077" y="977003"/>
                </a:lnTo>
                <a:lnTo>
                  <a:pt x="4208075" y="5185077"/>
                </a:lnTo>
                <a:lnTo>
                  <a:pt x="0" y="4208075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7BC4711-D31B-4CAE-A132-6C8DC6A6787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238274" y="2207781"/>
            <a:ext cx="3600000" cy="1344407"/>
          </a:xfrm>
        </p:spPr>
        <p:txBody>
          <a:bodyPr anchor="ctr">
            <a:spAutoFit/>
          </a:bodyPr>
          <a:lstStyle>
            <a:lvl1pPr>
              <a:lnSpc>
                <a:spcPct val="91000"/>
              </a:lnSpc>
              <a:defRPr sz="3200" spc="-4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überschrif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852182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04 mit Bild und Stemp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B5E85443-2D4B-4FDB-B496-F2CA2ED9360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-8" y="0"/>
            <a:ext cx="7427580" cy="6858000"/>
          </a:xfrm>
          <a:custGeom>
            <a:avLst/>
            <a:gdLst>
              <a:gd name="connsiteX0" fmla="*/ 0 w 7427580"/>
              <a:gd name="connsiteY0" fmla="*/ 0 h 6858000"/>
              <a:gd name="connsiteX1" fmla="*/ 5868287 w 7427580"/>
              <a:gd name="connsiteY1" fmla="*/ 0 h 6858000"/>
              <a:gd name="connsiteX2" fmla="*/ 7427580 w 7427580"/>
              <a:gd name="connsiteY2" fmla="*/ 6858000 h 6858000"/>
              <a:gd name="connsiteX3" fmla="*/ 0 w 742758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27580" h="6858000">
                <a:moveTo>
                  <a:pt x="0" y="0"/>
                </a:moveTo>
                <a:lnTo>
                  <a:pt x="5868287" y="0"/>
                </a:lnTo>
                <a:lnTo>
                  <a:pt x="742758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D465AF7-5505-4EB6-B212-0A1089202E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5072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D465AF7-5505-4EB6-B212-0A1089202E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A9F9EF0D-C34A-427A-819C-F098A1F297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4DA30996-C27C-4DAD-82D5-502DC22EC03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9831968" y="707191"/>
            <a:ext cx="1664632" cy="1084110"/>
          </a:xfrm>
          <a:prstGeom prst="rect">
            <a:avLst/>
          </a:prstGeom>
        </p:spPr>
      </p:pic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7305DC97-CB93-48BE-AFFB-DB752F4912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800000" y="1680000"/>
            <a:ext cx="4320003" cy="4320003"/>
          </a:xfrm>
          <a:custGeom>
            <a:avLst/>
            <a:gdLst>
              <a:gd name="connsiteX0" fmla="*/ 0 w 4320003"/>
              <a:gd name="connsiteY0" fmla="*/ 0 h 4320003"/>
              <a:gd name="connsiteX1" fmla="*/ 4320003 w 4320003"/>
              <a:gd name="connsiteY1" fmla="*/ 0 h 4320003"/>
              <a:gd name="connsiteX2" fmla="*/ 4320003 w 4320003"/>
              <a:gd name="connsiteY2" fmla="*/ 4320003 h 4320003"/>
              <a:gd name="connsiteX3" fmla="*/ 0 w 4320003"/>
              <a:gd name="connsiteY3" fmla="*/ 4320003 h 4320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20003" h="4320003">
                <a:moveTo>
                  <a:pt x="0" y="0"/>
                </a:moveTo>
                <a:lnTo>
                  <a:pt x="4320003" y="0"/>
                </a:lnTo>
                <a:lnTo>
                  <a:pt x="4320003" y="4320003"/>
                </a:lnTo>
                <a:lnTo>
                  <a:pt x="0" y="4320003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34FE4925-F0A3-4DEB-8B3E-8E86537CD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370459" y="1250460"/>
            <a:ext cx="5179085" cy="5179085"/>
          </a:xfrm>
          <a:custGeom>
            <a:avLst/>
            <a:gdLst>
              <a:gd name="connsiteX0" fmla="*/ 4209877 w 5179085"/>
              <a:gd name="connsiteY0" fmla="*/ 0 h 5179085"/>
              <a:gd name="connsiteX1" fmla="*/ 5179085 w 5179085"/>
              <a:gd name="connsiteY1" fmla="*/ 4209877 h 5179085"/>
              <a:gd name="connsiteX2" fmla="*/ 969208 w 5179085"/>
              <a:gd name="connsiteY2" fmla="*/ 5179085 h 5179085"/>
              <a:gd name="connsiteX3" fmla="*/ 0 w 5179085"/>
              <a:gd name="connsiteY3" fmla="*/ 969208 h 5179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9085" h="5179085">
                <a:moveTo>
                  <a:pt x="4209877" y="0"/>
                </a:moveTo>
                <a:lnTo>
                  <a:pt x="5179085" y="4209877"/>
                </a:lnTo>
                <a:lnTo>
                  <a:pt x="969208" y="5179085"/>
                </a:lnTo>
                <a:lnTo>
                  <a:pt x="0" y="969208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7BC4711-D31B-4CAE-A132-6C8DC6A6787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238274" y="3167798"/>
            <a:ext cx="3600000" cy="1344407"/>
          </a:xfrm>
        </p:spPr>
        <p:txBody>
          <a:bodyPr anchor="ctr">
            <a:spAutoFit/>
          </a:bodyPr>
          <a:lstStyle>
            <a:lvl1pPr>
              <a:lnSpc>
                <a:spcPct val="91000"/>
              </a:lnSpc>
              <a:defRPr sz="3200" spc="-4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überschrift durch Klicken bearbeiten</a:t>
            </a:r>
          </a:p>
        </p:txBody>
      </p:sp>
      <p:sp>
        <p:nvSpPr>
          <p:cNvPr id="25" name="Bildplatzhalter 17">
            <a:extLst>
              <a:ext uri="{FF2B5EF4-FFF2-40B4-BE49-F238E27FC236}">
                <a16:creationId xmlns:a16="http://schemas.microsoft.com/office/drawing/2014/main" id="{F2B4C45D-AB55-414C-AD5A-2E710926272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9820639" y="5653424"/>
            <a:ext cx="1681297" cy="367963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10001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>
            <a:extLst>
              <a:ext uri="{FF2B5EF4-FFF2-40B4-BE49-F238E27FC236}">
                <a16:creationId xmlns:a16="http://schemas.microsoft.com/office/drawing/2014/main" id="{F3CC6844-B310-462B-8936-62A1EE8FD3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68" t="14928" r="50466" b="57078"/>
          <a:stretch/>
        </p:blipFill>
        <p:spPr bwMode="gray">
          <a:xfrm rot="10800000">
            <a:off x="-8" y="1"/>
            <a:ext cx="12206519" cy="6317999"/>
          </a:xfrm>
          <a:prstGeom prst="rect">
            <a:avLst/>
          </a:prstGeom>
        </p:spPr>
      </p:pic>
      <p:sp>
        <p:nvSpPr>
          <p:cNvPr id="28" name="Freihandform 22">
            <a:extLst>
              <a:ext uri="{FF2B5EF4-FFF2-40B4-BE49-F238E27FC236}">
                <a16:creationId xmlns:a16="http://schemas.microsoft.com/office/drawing/2014/main" id="{33517879-5B85-40F6-B10A-ACCECB5A067D}"/>
              </a:ext>
            </a:extLst>
          </p:cNvPr>
          <p:cNvSpPr/>
          <p:nvPr userDrawn="1"/>
        </p:nvSpPr>
        <p:spPr bwMode="gray">
          <a:xfrm>
            <a:off x="5868278" y="0"/>
            <a:ext cx="6338237" cy="6858000"/>
          </a:xfrm>
          <a:custGeom>
            <a:avLst/>
            <a:gdLst>
              <a:gd name="connsiteX0" fmla="*/ 0 w 4778829"/>
              <a:gd name="connsiteY0" fmla="*/ 0 h 5170714"/>
              <a:gd name="connsiteX1" fmla="*/ 4778829 w 4778829"/>
              <a:gd name="connsiteY1" fmla="*/ 0 h 5170714"/>
              <a:gd name="connsiteX2" fmla="*/ 4778829 w 4778829"/>
              <a:gd name="connsiteY2" fmla="*/ 5170714 h 5170714"/>
              <a:gd name="connsiteX3" fmla="*/ 1175657 w 4778829"/>
              <a:gd name="connsiteY3" fmla="*/ 5170714 h 5170714"/>
              <a:gd name="connsiteX4" fmla="*/ 0 w 4778829"/>
              <a:gd name="connsiteY4" fmla="*/ 0 h 5170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78829" h="5170714">
                <a:moveTo>
                  <a:pt x="0" y="0"/>
                </a:moveTo>
                <a:lnTo>
                  <a:pt x="4778829" y="0"/>
                </a:lnTo>
                <a:lnTo>
                  <a:pt x="4778829" y="5170714"/>
                </a:lnTo>
                <a:lnTo>
                  <a:pt x="1175657" y="517071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17144C21-5DBC-4E9A-8365-3B68F68E146D}"/>
              </a:ext>
            </a:extLst>
          </p:cNvPr>
          <p:cNvSpPr/>
          <p:nvPr userDrawn="1"/>
        </p:nvSpPr>
        <p:spPr bwMode="gray">
          <a:xfrm>
            <a:off x="4896000" y="719983"/>
            <a:ext cx="4320003" cy="4320003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240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D465AF7-5505-4EB6-B212-0A1089202E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171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09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D465AF7-5505-4EB6-B212-0A1089202E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A9F9EF0D-C34A-427A-819C-F098A1F297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E7D9AA52-BA42-4454-B84E-DB138FB64C2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8" y="6317458"/>
            <a:ext cx="118553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FF3E4E-F4C8-4A6B-AE7F-4DEE7CBD991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2FB2555-2ED1-412A-8C6E-07B8187F63A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4" name="Bildplatzhalter 7">
            <a:extLst>
              <a:ext uri="{FF2B5EF4-FFF2-40B4-BE49-F238E27FC236}">
                <a16:creationId xmlns:a16="http://schemas.microsoft.com/office/drawing/2014/main" id="{FB978D4F-CB03-4B41-A9B4-5E369C68D7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576000" y="719981"/>
            <a:ext cx="4320000" cy="4320000"/>
          </a:xfrm>
          <a:solidFill>
            <a:schemeClr val="bg1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33BEFB6-1239-4DAA-99F4-D7410912A1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63464" y="287446"/>
            <a:ext cx="5185077" cy="5185077"/>
          </a:xfrm>
          <a:custGeom>
            <a:avLst/>
            <a:gdLst>
              <a:gd name="connsiteX0" fmla="*/ 977002 w 5185077"/>
              <a:gd name="connsiteY0" fmla="*/ 0 h 5185077"/>
              <a:gd name="connsiteX1" fmla="*/ 5185077 w 5185077"/>
              <a:gd name="connsiteY1" fmla="*/ 977002 h 5185077"/>
              <a:gd name="connsiteX2" fmla="*/ 4208075 w 5185077"/>
              <a:gd name="connsiteY2" fmla="*/ 5185077 h 5185077"/>
              <a:gd name="connsiteX3" fmla="*/ 0 w 5185077"/>
              <a:gd name="connsiteY3" fmla="*/ 4208075 h 51850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5077" h="5185077">
                <a:moveTo>
                  <a:pt x="977002" y="0"/>
                </a:moveTo>
                <a:lnTo>
                  <a:pt x="5185077" y="977002"/>
                </a:lnTo>
                <a:lnTo>
                  <a:pt x="4208075" y="5185077"/>
                </a:lnTo>
                <a:lnTo>
                  <a:pt x="0" y="4208075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7BC4711-D31B-4CAE-A132-6C8DC6A67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28001" y="2012168"/>
            <a:ext cx="3600000" cy="896271"/>
          </a:xfrm>
        </p:spPr>
        <p:txBody>
          <a:bodyPr anchor="ctr">
            <a:spAutoFit/>
          </a:bodyPr>
          <a:lstStyle>
            <a:lvl1pPr>
              <a:lnSpc>
                <a:spcPct val="91000"/>
              </a:lnSpc>
              <a:defRPr sz="3200" spc="-4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itat durch Klicken bearbeiten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878FE3DB-C83E-4616-B755-12AF657E76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852864" y="3891756"/>
            <a:ext cx="2871428" cy="276999"/>
          </a:xfrm>
        </p:spPr>
        <p:txBody>
          <a:bodyPr wrap="none" anchor="ctr">
            <a:spAutoFit/>
          </a:bodyPr>
          <a:lstStyle>
            <a:lvl1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1800" b="0" spc="-20" baseline="0">
                <a:solidFill>
                  <a:schemeClr val="bg1"/>
                </a:solidFill>
              </a:defRPr>
            </a:lvl1pPr>
            <a:lvl2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1800" b="0" spc="-20" baseline="0">
                <a:solidFill>
                  <a:schemeClr val="bg1"/>
                </a:solidFill>
              </a:defRPr>
            </a:lvl2pPr>
            <a:lvl3pPr marL="0" indent="0" algn="r">
              <a:lnSpc>
                <a:spcPct val="100000"/>
              </a:lnSpc>
              <a:buNone/>
              <a:defRPr sz="1800" b="0" spc="-20" baseline="0">
                <a:solidFill>
                  <a:schemeClr val="bg1"/>
                </a:solidFill>
              </a:defRPr>
            </a:lvl3pPr>
            <a:lvl4pPr marL="0" indent="0" algn="r">
              <a:lnSpc>
                <a:spcPct val="100000"/>
              </a:lnSpc>
              <a:buNone/>
              <a:defRPr sz="1800" b="0" spc="-20" baseline="0">
                <a:solidFill>
                  <a:schemeClr val="bg1"/>
                </a:solidFill>
              </a:defRPr>
            </a:lvl4pPr>
            <a:lvl5pPr marL="0" indent="0" algn="r">
              <a:lnSpc>
                <a:spcPct val="100000"/>
              </a:lnSpc>
              <a:buNone/>
              <a:defRPr sz="1800" b="0" spc="-2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 durch Klicken bearbeiten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22FEF3DC-75C3-4107-8803-9D2B622A72D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7986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1088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3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91E9400D-38AD-4D61-9DCA-AB824CD2130E}"/>
              </a:ext>
            </a:extLst>
          </p:cNvPr>
          <p:cNvGrpSpPr/>
          <p:nvPr userDrawn="1"/>
        </p:nvGrpSpPr>
        <p:grpSpPr bwMode="gray">
          <a:xfrm>
            <a:off x="335360" y="0"/>
            <a:ext cx="7488000" cy="1381760"/>
            <a:chOff x="266132" y="0"/>
            <a:chExt cx="5616000" cy="1036320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2DAE792-CC8A-44F5-9916-3EA767D15046}"/>
                </a:ext>
              </a:extLst>
            </p:cNvPr>
            <p:cNvSpPr/>
            <p:nvPr/>
          </p:nvSpPr>
          <p:spPr bwMode="gray">
            <a:xfrm>
              <a:off x="266132" y="0"/>
              <a:ext cx="561600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20" name="Freihandform 14">
              <a:extLst>
                <a:ext uri="{FF2B5EF4-FFF2-40B4-BE49-F238E27FC236}">
                  <a16:creationId xmlns:a16="http://schemas.microsoft.com/office/drawing/2014/main" id="{E8E4F0C7-5722-43D4-AD52-0704197351A1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0" y="1844824"/>
            <a:ext cx="11160000" cy="417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BF86CC5-67C9-4C2D-9EFB-EB02A80CCD0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4746" y="123360"/>
            <a:ext cx="6336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450566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 01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1837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7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CA4D3EA5-19BE-4E80-B87B-10E49037D6DA}"/>
              </a:ext>
            </a:extLst>
          </p:cNvPr>
          <p:cNvGrpSpPr/>
          <p:nvPr userDrawn="1"/>
        </p:nvGrpSpPr>
        <p:grpSpPr bwMode="gray">
          <a:xfrm>
            <a:off x="335360" y="0"/>
            <a:ext cx="7488000" cy="1381760"/>
            <a:chOff x="266132" y="0"/>
            <a:chExt cx="5616000" cy="1036320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E2B63435-4BCF-4E91-87F6-40B7CD2DB067}"/>
                </a:ext>
              </a:extLst>
            </p:cNvPr>
            <p:cNvSpPr/>
            <p:nvPr/>
          </p:nvSpPr>
          <p:spPr bwMode="gray">
            <a:xfrm>
              <a:off x="266132" y="0"/>
              <a:ext cx="561600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21" name="Freihandform 14">
              <a:extLst>
                <a:ext uri="{FF2B5EF4-FFF2-40B4-BE49-F238E27FC236}">
                  <a16:creationId xmlns:a16="http://schemas.microsoft.com/office/drawing/2014/main" id="{55836FA1-6584-41A8-A75B-E16532F9777D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0" y="1844824"/>
            <a:ext cx="7560000" cy="417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E6E6BA02-16FD-47F5-91FE-F4AF62815B5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8616640" y="1844824"/>
            <a:ext cx="3240000" cy="3167559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378227F-A9D1-43C8-A20F-99AB5E18464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4746" y="123360"/>
            <a:ext cx="6336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907128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 02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9466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0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A27E791-4607-459E-BFFF-EB0F2025FD50}"/>
              </a:ext>
            </a:extLst>
          </p:cNvPr>
          <p:cNvGrpSpPr/>
          <p:nvPr userDrawn="1"/>
        </p:nvGrpSpPr>
        <p:grpSpPr bwMode="gray">
          <a:xfrm>
            <a:off x="335360" y="0"/>
            <a:ext cx="7488000" cy="1381760"/>
            <a:chOff x="266132" y="0"/>
            <a:chExt cx="5616000" cy="103632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9D6EB764-9AED-407A-9EEC-622A83D60B76}"/>
                </a:ext>
              </a:extLst>
            </p:cNvPr>
            <p:cNvSpPr/>
            <p:nvPr/>
          </p:nvSpPr>
          <p:spPr bwMode="gray">
            <a:xfrm>
              <a:off x="266132" y="0"/>
              <a:ext cx="561600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22" name="Freihandform 14">
              <a:extLst>
                <a:ext uri="{FF2B5EF4-FFF2-40B4-BE49-F238E27FC236}">
                  <a16:creationId xmlns:a16="http://schemas.microsoft.com/office/drawing/2014/main" id="{4EC49CB3-1A79-4CEC-A709-1A2F26F7DB65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0" y="1844824"/>
            <a:ext cx="5508000" cy="41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E6E6BA02-16FD-47F5-91FE-F4AF62815B5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6564052" y="1844824"/>
            <a:ext cx="5292000" cy="3167559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1D3A196-EC48-4508-9945-F8EA050616C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4746" y="123360"/>
            <a:ext cx="6336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322788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zwei Bilder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0140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2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E6E6BA02-16FD-47F5-91FE-F4AF62815B5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34919" y="626825"/>
            <a:ext cx="7488000" cy="5394564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8184120" y="4509288"/>
            <a:ext cx="3672000" cy="151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1B81A0A2-5BB2-4205-8498-FA6DD27236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83768" y="1844825"/>
            <a:ext cx="3672000" cy="2518290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5EA5E90-A9B7-434F-A56E-8FA9AA92BAFA}"/>
              </a:ext>
            </a:extLst>
          </p:cNvPr>
          <p:cNvSpPr/>
          <p:nvPr/>
        </p:nvSpPr>
        <p:spPr bwMode="gray">
          <a:xfrm>
            <a:off x="335360" y="0"/>
            <a:ext cx="7488000" cy="630508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53351D97-F7DF-45E0-B610-E3F3CAF3D5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042577" y="0"/>
            <a:ext cx="6220629" cy="1381760"/>
          </a:xfrm>
          <a:custGeom>
            <a:avLst/>
            <a:gdLst>
              <a:gd name="connsiteX0" fmla="*/ 0 w 6220629"/>
              <a:gd name="connsiteY0" fmla="*/ 0 h 1381760"/>
              <a:gd name="connsiteX1" fmla="*/ 6220629 w 6220629"/>
              <a:gd name="connsiteY1" fmla="*/ 5419 h 1381760"/>
              <a:gd name="connsiteX2" fmla="*/ 308864 w 6220629"/>
              <a:gd name="connsiteY2" fmla="*/ 1381760 h 1381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220629" h="1381760">
                <a:moveTo>
                  <a:pt x="0" y="0"/>
                </a:moveTo>
                <a:lnTo>
                  <a:pt x="6220629" y="5419"/>
                </a:lnTo>
                <a:lnTo>
                  <a:pt x="308864" y="1381760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4EDD9FC-6A21-4E23-BFAA-300CF420CCEF}"/>
              </a:ext>
            </a:extLst>
          </p:cNvPr>
          <p:cNvSpPr>
            <a:spLocks noGrp="1"/>
          </p:cNvSpPr>
          <p:nvPr userDrawn="1">
            <p:ph type="title"/>
          </p:nvPr>
        </p:nvSpPr>
        <p:spPr bwMode="gray">
          <a:xfrm>
            <a:off x="1324746" y="123360"/>
            <a:ext cx="6335997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725144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01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 11">
            <a:extLst>
              <a:ext uri="{FF2B5EF4-FFF2-40B4-BE49-F238E27FC236}">
                <a16:creationId xmlns:a16="http://schemas.microsoft.com/office/drawing/2014/main" id="{345B8CC5-06C1-472D-9579-229E85ACF8E4}"/>
              </a:ext>
            </a:extLst>
          </p:cNvPr>
          <p:cNvSpPr/>
          <p:nvPr userDrawn="1"/>
        </p:nvSpPr>
        <p:spPr bwMode="gray">
          <a:xfrm>
            <a:off x="144780" y="-7619"/>
            <a:ext cx="9357360" cy="4076700"/>
          </a:xfrm>
          <a:custGeom>
            <a:avLst/>
            <a:gdLst>
              <a:gd name="connsiteX0" fmla="*/ 0 w 7018020"/>
              <a:gd name="connsiteY0" fmla="*/ 0 h 3057525"/>
              <a:gd name="connsiteX1" fmla="*/ 714375 w 7018020"/>
              <a:gd name="connsiteY1" fmla="*/ 3057525 h 3057525"/>
              <a:gd name="connsiteX2" fmla="*/ 7018020 w 7018020"/>
              <a:gd name="connsiteY2" fmla="*/ 1600200 h 3057525"/>
              <a:gd name="connsiteX3" fmla="*/ 6652260 w 7018020"/>
              <a:gd name="connsiteY3" fmla="*/ 5715 h 3057525"/>
              <a:gd name="connsiteX4" fmla="*/ 0 w 7018020"/>
              <a:gd name="connsiteY4" fmla="*/ 0 h 305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18020" h="3057525">
                <a:moveTo>
                  <a:pt x="0" y="0"/>
                </a:moveTo>
                <a:lnTo>
                  <a:pt x="714375" y="3057525"/>
                </a:lnTo>
                <a:lnTo>
                  <a:pt x="7018020" y="1600200"/>
                </a:lnTo>
                <a:lnTo>
                  <a:pt x="6652260" y="5715"/>
                </a:lnTo>
                <a:lnTo>
                  <a:pt x="0" y="0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178B517-5906-4BB1-B0FC-C8DC054AAF36}"/>
              </a:ext>
            </a:extLst>
          </p:cNvPr>
          <p:cNvSpPr/>
          <p:nvPr userDrawn="1"/>
        </p:nvSpPr>
        <p:spPr bwMode="gray">
          <a:xfrm>
            <a:off x="-5" y="0"/>
            <a:ext cx="8640445" cy="3217547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4EFD84D-7620-4378-B33F-72E1F06AAE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1583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6FBC020-F7BC-491F-A515-7633C9383B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31996BA-DEBA-4422-8751-889EF72798A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960000" y="1345624"/>
            <a:ext cx="7416000" cy="526298"/>
          </a:xfrm>
        </p:spPr>
        <p:txBody>
          <a:bodyPr anchor="ctr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AC5A5B-2679-4974-BA5D-19265FF288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0000" y="5079957"/>
            <a:ext cx="4356000" cy="307777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Kolpingsfamilie Beispielhaus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E94ABF0D-D15C-4EE3-B3EB-0D61FAD821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60000" y="5432738"/>
            <a:ext cx="4356000" cy="307777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T. Monat 20XX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51848211-9774-4D0C-9DA2-0F501977F5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960000" y="5785519"/>
            <a:ext cx="4356000" cy="307777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Name, Funktio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78A93654-10BB-4A8A-A13A-AE02708FB69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9831968" y="5045190"/>
            <a:ext cx="1664632" cy="108411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B332A760-F96E-4E17-A4F1-960D042AD8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05262" y="1423349"/>
            <a:ext cx="1925736" cy="191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5151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drei Bilder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9753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5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D84EC313-9395-437A-901B-B57F2C1A1CFC}"/>
              </a:ext>
            </a:extLst>
          </p:cNvPr>
          <p:cNvGrpSpPr/>
          <p:nvPr userDrawn="1"/>
        </p:nvGrpSpPr>
        <p:grpSpPr bwMode="gray">
          <a:xfrm>
            <a:off x="335360" y="0"/>
            <a:ext cx="7488000" cy="1381760"/>
            <a:chOff x="266132" y="0"/>
            <a:chExt cx="5616000" cy="1036320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65D3BE8F-3677-4FE3-93B3-2603FEBDD14E}"/>
                </a:ext>
              </a:extLst>
            </p:cNvPr>
            <p:cNvSpPr/>
            <p:nvPr/>
          </p:nvSpPr>
          <p:spPr bwMode="gray">
            <a:xfrm>
              <a:off x="266132" y="0"/>
              <a:ext cx="561600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16" name="Freihandform 14">
              <a:extLst>
                <a:ext uri="{FF2B5EF4-FFF2-40B4-BE49-F238E27FC236}">
                  <a16:creationId xmlns:a16="http://schemas.microsoft.com/office/drawing/2014/main" id="{B62B9C36-BB7B-4A96-8DE7-FAA89E134004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0" y="1844824"/>
            <a:ext cx="11160000" cy="417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6676BE9F-0E1E-4A5B-B76B-49DCDEEDC99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7105987" y="3977283"/>
            <a:ext cx="1508143" cy="2044005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595F7FA4-3B0A-4F9C-A5F3-5210252369D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727242" y="3977283"/>
            <a:ext cx="1508143" cy="2044005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2" name="Bildplatzhalter 7">
            <a:extLst>
              <a:ext uri="{FF2B5EF4-FFF2-40B4-BE49-F238E27FC236}">
                <a16:creationId xmlns:a16="http://schemas.microsoft.com/office/drawing/2014/main" id="{5F9FD67C-EBBC-4FAB-B820-EF8DC86C9F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10348497" y="3977283"/>
            <a:ext cx="1508143" cy="2044005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84B0EFB-3083-43D3-8389-2D02165DB41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4746" y="123360"/>
            <a:ext cx="6336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180605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Diagramm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8486C6F-27DB-4D63-891E-B5FB0A7C8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7797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8486C6F-27DB-4D63-891E-B5FB0A7C8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B295ED-4258-4CB1-822E-55597AFAEA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13000"/>
              </a:lnSpc>
              <a:buFontTx/>
              <a:buNone/>
            </a:pPr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18EFCB53-0B43-438C-8DC9-286E74C2EB4D}"/>
              </a:ext>
            </a:extLst>
          </p:cNvPr>
          <p:cNvGrpSpPr/>
          <p:nvPr userDrawn="1"/>
        </p:nvGrpSpPr>
        <p:grpSpPr bwMode="gray">
          <a:xfrm>
            <a:off x="335360" y="0"/>
            <a:ext cx="7488000" cy="1381760"/>
            <a:chOff x="266132" y="0"/>
            <a:chExt cx="5616000" cy="1036320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2B261B18-762C-44A2-8819-A8D51F0398FA}"/>
                </a:ext>
              </a:extLst>
            </p:cNvPr>
            <p:cNvSpPr/>
            <p:nvPr/>
          </p:nvSpPr>
          <p:spPr bwMode="gray">
            <a:xfrm>
              <a:off x="266132" y="0"/>
              <a:ext cx="561600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20" name="Freihandform 14">
              <a:extLst>
                <a:ext uri="{FF2B5EF4-FFF2-40B4-BE49-F238E27FC236}">
                  <a16:creationId xmlns:a16="http://schemas.microsoft.com/office/drawing/2014/main" id="{EE45A46B-CA63-4F78-A4F9-A3E3B02C5A9A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976E7E-66B6-47D2-9D7B-80700ADEF6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5DB896E-51FE-4379-A762-A8C1C810C5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Diagrammplatzhalter 8">
            <a:extLst>
              <a:ext uri="{FF2B5EF4-FFF2-40B4-BE49-F238E27FC236}">
                <a16:creationId xmlns:a16="http://schemas.microsoft.com/office/drawing/2014/main" id="{CD41A8D7-9ABF-41A5-AC31-A96D184ED173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 bwMode="gray">
          <a:xfrm>
            <a:off x="695399" y="2456892"/>
            <a:ext cx="11160000" cy="3384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7A6E15E-46AD-46B0-969F-DE0E7F4B7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5" y="2168860"/>
            <a:ext cx="11160000" cy="217047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400" b="0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0F476CC0-3C2A-432C-BD82-AF2D720B63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95325" y="5888879"/>
            <a:ext cx="11160000" cy="132409"/>
          </a:xfrm>
        </p:spPr>
        <p:txBody>
          <a:bodyPr wrap="square"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0" indent="0">
              <a:buNone/>
              <a:defRPr sz="800" b="0">
                <a:solidFill>
                  <a:schemeClr val="tx1"/>
                </a:solidFill>
              </a:defRPr>
            </a:lvl3pPr>
            <a:lvl4pPr marL="0" indent="0">
              <a:buNone/>
              <a:defRPr sz="800" b="0">
                <a:solidFill>
                  <a:schemeClr val="tx1"/>
                </a:solidFill>
              </a:defRPr>
            </a:lvl4pPr>
            <a:lvl5pPr marL="0" indent="0">
              <a:buNone/>
              <a:defRPr sz="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7B327A21-630C-4CEB-888F-978CF15643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325" y="1844824"/>
            <a:ext cx="11160000" cy="279051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800" b="1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000" b="1">
                <a:solidFill>
                  <a:schemeClr val="tx2"/>
                </a:solidFill>
              </a:defRPr>
            </a:lvl2pPr>
            <a:lvl3pPr marL="0" indent="0">
              <a:buNone/>
              <a:defRPr sz="2000" b="1">
                <a:solidFill>
                  <a:schemeClr val="tx2"/>
                </a:solidFill>
              </a:defRPr>
            </a:lvl3pPr>
            <a:lvl4pPr marL="0" indent="0">
              <a:buNone/>
              <a:defRPr sz="2000" b="1">
                <a:solidFill>
                  <a:schemeClr val="tx2"/>
                </a:solidFill>
              </a:defRPr>
            </a:lvl4pPr>
            <a:lvl5pPr marL="0" indent="0">
              <a:buNone/>
              <a:defRPr sz="2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Platzhalter für den Diagrammtitel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9EF54AA-E088-4B44-BA58-B38E4D57B05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F9F5485-5417-4A16-9E73-3F5CBEDF27D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3975" y="123360"/>
            <a:ext cx="6337300" cy="380104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88F550FD-4E5E-444E-9520-58B44F17FB1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360" y="6317458"/>
            <a:ext cx="1152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34848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zwei Diagramm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C90CAB-6876-44AE-9D19-94C1931837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2094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0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C90CAB-6876-44AE-9D19-94C1931837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AF3E650-8E5B-44D8-84E6-4FF463C2F4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13000"/>
              </a:lnSpc>
              <a:buFontTx/>
              <a:buNone/>
            </a:pPr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976E7E-66B6-47D2-9D7B-80700ADEF6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5DB896E-51FE-4379-A762-A8C1C810C5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Diagrammplatzhalter 8">
            <a:extLst>
              <a:ext uri="{FF2B5EF4-FFF2-40B4-BE49-F238E27FC236}">
                <a16:creationId xmlns:a16="http://schemas.microsoft.com/office/drawing/2014/main" id="{1B9B64F8-94AE-4D2E-A621-06313D4A0CD8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 bwMode="gray">
          <a:xfrm>
            <a:off x="695398" y="2456892"/>
            <a:ext cx="5292000" cy="3384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06B01C08-025F-45EF-87DC-2FBA59C16CD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4" y="2168860"/>
            <a:ext cx="5292000" cy="217047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400" b="0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5939E0F3-DA9E-4F63-8468-F49D74ACF0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95324" y="5897215"/>
            <a:ext cx="5292000" cy="124073"/>
          </a:xfrm>
        </p:spPr>
        <p:txBody>
          <a:bodyPr wrap="square"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0" indent="0">
              <a:buNone/>
              <a:defRPr sz="800" b="0">
                <a:solidFill>
                  <a:schemeClr val="tx1"/>
                </a:solidFill>
              </a:defRPr>
            </a:lvl3pPr>
            <a:lvl4pPr marL="0" indent="0">
              <a:buNone/>
              <a:defRPr sz="800" b="0">
                <a:solidFill>
                  <a:schemeClr val="tx1"/>
                </a:solidFill>
              </a:defRPr>
            </a:lvl4pPr>
            <a:lvl5pPr marL="0" indent="0">
              <a:buNone/>
              <a:defRPr sz="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A31FDE6A-7D70-4CAD-8848-1B1E4ABC00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324" y="1844824"/>
            <a:ext cx="5292000" cy="279051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800" b="1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000" b="1">
                <a:solidFill>
                  <a:schemeClr val="tx2"/>
                </a:solidFill>
              </a:defRPr>
            </a:lvl2pPr>
            <a:lvl3pPr marL="0" indent="0">
              <a:buNone/>
              <a:defRPr sz="2000" b="1">
                <a:solidFill>
                  <a:schemeClr val="tx2"/>
                </a:solidFill>
              </a:defRPr>
            </a:lvl3pPr>
            <a:lvl4pPr marL="0" indent="0">
              <a:buNone/>
              <a:defRPr sz="2000" b="1">
                <a:solidFill>
                  <a:schemeClr val="tx2"/>
                </a:solidFill>
              </a:defRPr>
            </a:lvl4pPr>
            <a:lvl5pPr marL="0" indent="0">
              <a:buNone/>
              <a:defRPr sz="2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8" name="Diagrammplatzhalter 8">
            <a:extLst>
              <a:ext uri="{FF2B5EF4-FFF2-40B4-BE49-F238E27FC236}">
                <a16:creationId xmlns:a16="http://schemas.microsoft.com/office/drawing/2014/main" id="{C66EF096-B96B-4341-A80D-292DF81D2A61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 bwMode="gray">
          <a:xfrm>
            <a:off x="6564127" y="2456892"/>
            <a:ext cx="5292000" cy="3384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9434AE07-CCB5-420D-A9D4-3930A916F2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564053" y="2168860"/>
            <a:ext cx="5292000" cy="217047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400" b="0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E1D749AC-48A8-4A9E-90CD-D71DEB5555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64052" y="5897215"/>
            <a:ext cx="5292000" cy="124073"/>
          </a:xfrm>
        </p:spPr>
        <p:txBody>
          <a:bodyPr wrap="square"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0" indent="0">
              <a:buNone/>
              <a:defRPr sz="800" b="0">
                <a:solidFill>
                  <a:schemeClr val="tx1"/>
                </a:solidFill>
              </a:defRPr>
            </a:lvl3pPr>
            <a:lvl4pPr marL="0" indent="0">
              <a:buNone/>
              <a:defRPr sz="800" b="0">
                <a:solidFill>
                  <a:schemeClr val="tx1"/>
                </a:solidFill>
              </a:defRPr>
            </a:lvl4pPr>
            <a:lvl5pPr marL="0" indent="0">
              <a:buNone/>
              <a:defRPr sz="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846F28FA-AD22-411C-98C8-31C2512516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64053" y="1844824"/>
            <a:ext cx="5292000" cy="279051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800" b="1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000" b="1">
                <a:solidFill>
                  <a:schemeClr val="tx2"/>
                </a:solidFill>
              </a:defRPr>
            </a:lvl2pPr>
            <a:lvl3pPr marL="0" indent="0">
              <a:buNone/>
              <a:defRPr sz="2000" b="1">
                <a:solidFill>
                  <a:schemeClr val="tx2"/>
                </a:solidFill>
              </a:defRPr>
            </a:lvl3pPr>
            <a:lvl4pPr marL="0" indent="0">
              <a:buNone/>
              <a:defRPr sz="2000" b="1">
                <a:solidFill>
                  <a:schemeClr val="tx2"/>
                </a:solidFill>
              </a:defRPr>
            </a:lvl4pPr>
            <a:lvl5pPr marL="0" indent="0">
              <a:buNone/>
              <a:defRPr sz="2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Platzhalter für den Diagrammtitel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28B1E8F4-9108-4ECD-A92F-8471A025B46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C77A0872-80FA-468C-ACD4-24ABC390B3AD}"/>
              </a:ext>
            </a:extLst>
          </p:cNvPr>
          <p:cNvGrpSpPr/>
          <p:nvPr userDrawn="1"/>
        </p:nvGrpSpPr>
        <p:grpSpPr bwMode="gray">
          <a:xfrm>
            <a:off x="335360" y="0"/>
            <a:ext cx="7488000" cy="1381760"/>
            <a:chOff x="266132" y="0"/>
            <a:chExt cx="5616000" cy="1036320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4E559D20-0D36-4CD1-B471-DF49C02F1773}"/>
                </a:ext>
              </a:extLst>
            </p:cNvPr>
            <p:cNvSpPr/>
            <p:nvPr/>
          </p:nvSpPr>
          <p:spPr bwMode="gray">
            <a:xfrm>
              <a:off x="266132" y="0"/>
              <a:ext cx="561600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28" name="Freihandform 14">
              <a:extLst>
                <a:ext uri="{FF2B5EF4-FFF2-40B4-BE49-F238E27FC236}">
                  <a16:creationId xmlns:a16="http://schemas.microsoft.com/office/drawing/2014/main" id="{4C36A464-6CFB-42B9-AE5E-84507C24B31B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7" name="Titel 6">
            <a:extLst>
              <a:ext uri="{FF2B5EF4-FFF2-40B4-BE49-F238E27FC236}">
                <a16:creationId xmlns:a16="http://schemas.microsoft.com/office/drawing/2014/main" id="{EDBD2D45-EFD0-46D1-A06F-52549844E3C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3975" y="123360"/>
            <a:ext cx="6337300" cy="380104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52B7E9AC-0580-4B2A-B496-34C65CD3854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360" y="6317458"/>
            <a:ext cx="1152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64354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BDD804C-F6BF-4159-8EF6-9DD51C7ADD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6126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9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BDD804C-F6BF-4159-8EF6-9DD51C7ADD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859744E-6BFE-497C-82B4-FBBA7B3F2A5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13000"/>
              </a:lnSpc>
              <a:buFontTx/>
              <a:buNone/>
            </a:pPr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5B559B05-5F89-409E-9B30-AD80C7C4AC50}"/>
              </a:ext>
            </a:extLst>
          </p:cNvPr>
          <p:cNvGrpSpPr/>
          <p:nvPr userDrawn="1"/>
        </p:nvGrpSpPr>
        <p:grpSpPr bwMode="gray">
          <a:xfrm>
            <a:off x="335360" y="0"/>
            <a:ext cx="7488000" cy="1381760"/>
            <a:chOff x="266132" y="0"/>
            <a:chExt cx="5616000" cy="1036320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00ECF00D-6507-4B70-9CE1-2C612503ADE5}"/>
                </a:ext>
              </a:extLst>
            </p:cNvPr>
            <p:cNvSpPr/>
            <p:nvPr/>
          </p:nvSpPr>
          <p:spPr bwMode="gray">
            <a:xfrm>
              <a:off x="266132" y="0"/>
              <a:ext cx="561600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15" name="Freihandform 14">
              <a:extLst>
                <a:ext uri="{FF2B5EF4-FFF2-40B4-BE49-F238E27FC236}">
                  <a16:creationId xmlns:a16="http://schemas.microsoft.com/office/drawing/2014/main" id="{F02A859E-F934-4124-87E9-6C3CD4CDD2FB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63D8B59-CDFF-47E1-BD35-8A47228695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48E52B-61A0-435C-AB12-EAE644826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D55A091D-95BC-4116-B785-E1149E76292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4746" y="123360"/>
            <a:ext cx="6336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B89F753-7E79-4A1B-8C97-620D42FBB5F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23A11C9D-3AE7-42EA-9803-5CBE54251CA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360" y="6317458"/>
            <a:ext cx="1152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07436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705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4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62FDF5C8-0012-40FC-8916-5C7AB49CD8D1}"/>
              </a:ext>
            </a:extLst>
          </p:cNvPr>
          <p:cNvGrpSpPr/>
          <p:nvPr userDrawn="1"/>
        </p:nvGrpSpPr>
        <p:grpSpPr bwMode="gray">
          <a:xfrm>
            <a:off x="335360" y="-8020"/>
            <a:ext cx="9502553" cy="2490944"/>
            <a:chOff x="260474" y="-6015"/>
            <a:chExt cx="7126915" cy="1868208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0B35C34D-2060-4B65-86C1-C920519FB86D}"/>
                </a:ext>
              </a:extLst>
            </p:cNvPr>
            <p:cNvSpPr/>
            <p:nvPr/>
          </p:nvSpPr>
          <p:spPr bwMode="gray">
            <a:xfrm>
              <a:off x="260474" y="-1"/>
              <a:ext cx="6480334" cy="1219839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3" name="Freihandform 38">
              <a:extLst>
                <a:ext uri="{FF2B5EF4-FFF2-40B4-BE49-F238E27FC236}">
                  <a16:creationId xmlns:a16="http://schemas.microsoft.com/office/drawing/2014/main" id="{B4F4EA0B-9075-4ACF-94C9-0EF6456B44CF}"/>
                </a:ext>
              </a:extLst>
            </p:cNvPr>
            <p:cNvSpPr/>
            <p:nvPr/>
          </p:nvSpPr>
          <p:spPr bwMode="gray">
            <a:xfrm>
              <a:off x="643689" y="-6015"/>
              <a:ext cx="6743700" cy="1868208"/>
            </a:xfrm>
            <a:custGeom>
              <a:avLst/>
              <a:gdLst>
                <a:gd name="connsiteX0" fmla="*/ 0 w 6743700"/>
                <a:gd name="connsiteY0" fmla="*/ 0 h 1864895"/>
                <a:gd name="connsiteX1" fmla="*/ 433137 w 6743700"/>
                <a:gd name="connsiteY1" fmla="*/ 1864895 h 1864895"/>
                <a:gd name="connsiteX2" fmla="*/ 6743700 w 6743700"/>
                <a:gd name="connsiteY2" fmla="*/ 415090 h 1864895"/>
                <a:gd name="connsiteX3" fmla="*/ 6647448 w 6743700"/>
                <a:gd name="connsiteY3" fmla="*/ 6016 h 1864895"/>
                <a:gd name="connsiteX4" fmla="*/ 0 w 6743700"/>
                <a:gd name="connsiteY4" fmla="*/ 0 h 1864895"/>
                <a:gd name="connsiteX0" fmla="*/ 0 w 6743700"/>
                <a:gd name="connsiteY0" fmla="*/ 0 h 1868208"/>
                <a:gd name="connsiteX1" fmla="*/ 429824 w 6743700"/>
                <a:gd name="connsiteY1" fmla="*/ 1868208 h 1868208"/>
                <a:gd name="connsiteX2" fmla="*/ 6743700 w 6743700"/>
                <a:gd name="connsiteY2" fmla="*/ 415090 h 1868208"/>
                <a:gd name="connsiteX3" fmla="*/ 6647448 w 6743700"/>
                <a:gd name="connsiteY3" fmla="*/ 6016 h 1868208"/>
                <a:gd name="connsiteX4" fmla="*/ 0 w 6743700"/>
                <a:gd name="connsiteY4" fmla="*/ 0 h 1868208"/>
                <a:gd name="connsiteX0" fmla="*/ 0 w 6743700"/>
                <a:gd name="connsiteY0" fmla="*/ 0 h 1868208"/>
                <a:gd name="connsiteX1" fmla="*/ 429824 w 6743700"/>
                <a:gd name="connsiteY1" fmla="*/ 1868208 h 1868208"/>
                <a:gd name="connsiteX2" fmla="*/ 6743700 w 6743700"/>
                <a:gd name="connsiteY2" fmla="*/ 418403 h 1868208"/>
                <a:gd name="connsiteX3" fmla="*/ 6647448 w 6743700"/>
                <a:gd name="connsiteY3" fmla="*/ 6016 h 1868208"/>
                <a:gd name="connsiteX4" fmla="*/ 0 w 6743700"/>
                <a:gd name="connsiteY4" fmla="*/ 0 h 1868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3700" h="1868208">
                  <a:moveTo>
                    <a:pt x="0" y="0"/>
                  </a:moveTo>
                  <a:lnTo>
                    <a:pt x="429824" y="1868208"/>
                  </a:lnTo>
                  <a:lnTo>
                    <a:pt x="6743700" y="418403"/>
                  </a:lnTo>
                  <a:lnTo>
                    <a:pt x="6647448" y="60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0" y="2924944"/>
            <a:ext cx="11160000" cy="30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BF86CC5-67C9-4C2D-9EFB-EB02A80CCD0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4746" y="623173"/>
            <a:ext cx="7380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03833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4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 02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9447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7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9D3DB0B-3229-4FC5-802A-31749CC1F738}"/>
              </a:ext>
            </a:extLst>
          </p:cNvPr>
          <p:cNvGrpSpPr/>
          <p:nvPr userDrawn="1"/>
        </p:nvGrpSpPr>
        <p:grpSpPr bwMode="gray">
          <a:xfrm>
            <a:off x="335360" y="-8020"/>
            <a:ext cx="9502553" cy="2490944"/>
            <a:chOff x="260474" y="-6015"/>
            <a:chExt cx="7126915" cy="1868208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E77BE24C-3312-4F94-A2E8-DE7C894FCB90}"/>
                </a:ext>
              </a:extLst>
            </p:cNvPr>
            <p:cNvSpPr/>
            <p:nvPr/>
          </p:nvSpPr>
          <p:spPr bwMode="gray">
            <a:xfrm>
              <a:off x="260474" y="-1"/>
              <a:ext cx="6480334" cy="1219839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4" name="Freihandform 38">
              <a:extLst>
                <a:ext uri="{FF2B5EF4-FFF2-40B4-BE49-F238E27FC236}">
                  <a16:creationId xmlns:a16="http://schemas.microsoft.com/office/drawing/2014/main" id="{D99FEDAA-ADDC-418E-9B31-B8C07CA342FA}"/>
                </a:ext>
              </a:extLst>
            </p:cNvPr>
            <p:cNvSpPr/>
            <p:nvPr/>
          </p:nvSpPr>
          <p:spPr bwMode="gray">
            <a:xfrm>
              <a:off x="643689" y="-6015"/>
              <a:ext cx="6743700" cy="1868208"/>
            </a:xfrm>
            <a:custGeom>
              <a:avLst/>
              <a:gdLst>
                <a:gd name="connsiteX0" fmla="*/ 0 w 6743700"/>
                <a:gd name="connsiteY0" fmla="*/ 0 h 1864895"/>
                <a:gd name="connsiteX1" fmla="*/ 433137 w 6743700"/>
                <a:gd name="connsiteY1" fmla="*/ 1864895 h 1864895"/>
                <a:gd name="connsiteX2" fmla="*/ 6743700 w 6743700"/>
                <a:gd name="connsiteY2" fmla="*/ 415090 h 1864895"/>
                <a:gd name="connsiteX3" fmla="*/ 6647448 w 6743700"/>
                <a:gd name="connsiteY3" fmla="*/ 6016 h 1864895"/>
                <a:gd name="connsiteX4" fmla="*/ 0 w 6743700"/>
                <a:gd name="connsiteY4" fmla="*/ 0 h 1864895"/>
                <a:gd name="connsiteX0" fmla="*/ 0 w 6743700"/>
                <a:gd name="connsiteY0" fmla="*/ 0 h 1868208"/>
                <a:gd name="connsiteX1" fmla="*/ 429824 w 6743700"/>
                <a:gd name="connsiteY1" fmla="*/ 1868208 h 1868208"/>
                <a:gd name="connsiteX2" fmla="*/ 6743700 w 6743700"/>
                <a:gd name="connsiteY2" fmla="*/ 415090 h 1868208"/>
                <a:gd name="connsiteX3" fmla="*/ 6647448 w 6743700"/>
                <a:gd name="connsiteY3" fmla="*/ 6016 h 1868208"/>
                <a:gd name="connsiteX4" fmla="*/ 0 w 6743700"/>
                <a:gd name="connsiteY4" fmla="*/ 0 h 1868208"/>
                <a:gd name="connsiteX0" fmla="*/ 0 w 6743700"/>
                <a:gd name="connsiteY0" fmla="*/ 0 h 1868208"/>
                <a:gd name="connsiteX1" fmla="*/ 429824 w 6743700"/>
                <a:gd name="connsiteY1" fmla="*/ 1868208 h 1868208"/>
                <a:gd name="connsiteX2" fmla="*/ 6743700 w 6743700"/>
                <a:gd name="connsiteY2" fmla="*/ 418403 h 1868208"/>
                <a:gd name="connsiteX3" fmla="*/ 6647448 w 6743700"/>
                <a:gd name="connsiteY3" fmla="*/ 6016 h 1868208"/>
                <a:gd name="connsiteX4" fmla="*/ 0 w 6743700"/>
                <a:gd name="connsiteY4" fmla="*/ 0 h 1868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3700" h="1868208">
                  <a:moveTo>
                    <a:pt x="0" y="0"/>
                  </a:moveTo>
                  <a:lnTo>
                    <a:pt x="429824" y="1868208"/>
                  </a:lnTo>
                  <a:lnTo>
                    <a:pt x="6743700" y="418403"/>
                  </a:lnTo>
                  <a:lnTo>
                    <a:pt x="6647448" y="60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0" y="2924175"/>
            <a:ext cx="5508000" cy="309664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E6E6BA02-16FD-47F5-91FE-F4AF62815B5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6564052" y="2924944"/>
            <a:ext cx="5292000" cy="3096000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1D3A196-EC48-4508-9945-F8EA050616C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4746" y="623173"/>
            <a:ext cx="7380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666904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42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7E6067A-3D10-4943-BA4E-F4E44F517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2165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1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7E6067A-3D10-4943-BA4E-F4E44F517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A55753FE-38D8-40E6-8558-4037A79158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13000"/>
              </a:lnSpc>
              <a:buFontTx/>
              <a:buNone/>
            </a:pPr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AFDEA4EC-711C-4DE1-93EC-C1AED588A1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1418004" y="549689"/>
            <a:ext cx="9738414" cy="5759631"/>
          </a:xfrm>
          <a:custGeom>
            <a:avLst/>
            <a:gdLst>
              <a:gd name="connsiteX0" fmla="*/ 8416902 w 9738414"/>
              <a:gd name="connsiteY0" fmla="*/ 0 h 5759631"/>
              <a:gd name="connsiteX1" fmla="*/ 9738414 w 9738414"/>
              <a:gd name="connsiteY1" fmla="*/ 5759631 h 5759631"/>
              <a:gd name="connsiteX2" fmla="*/ 878409 w 9738414"/>
              <a:gd name="connsiteY2" fmla="*/ 5759631 h 5759631"/>
              <a:gd name="connsiteX3" fmla="*/ 0 w 9738414"/>
              <a:gd name="connsiteY3" fmla="*/ 1931207 h 575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38414" h="5759631">
                <a:moveTo>
                  <a:pt x="8416902" y="0"/>
                </a:moveTo>
                <a:lnTo>
                  <a:pt x="9738414" y="5759631"/>
                </a:lnTo>
                <a:lnTo>
                  <a:pt x="878409" y="5759631"/>
                </a:lnTo>
                <a:lnTo>
                  <a:pt x="0" y="1931207"/>
                </a:lnTo>
                <a:close/>
              </a:path>
            </a:pathLst>
          </a:custGeom>
          <a:solidFill>
            <a:srgbClr val="DCDCDC"/>
          </a:solidFill>
          <a:ln w="12700">
            <a:noFill/>
          </a:ln>
        </p:spPr>
        <p:txBody>
          <a:bodyPr wrap="square" lIns="900000" anchor="b">
            <a:noAutofit/>
          </a:bodyPr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2" name="Freihandform 38">
            <a:extLst>
              <a:ext uri="{FF2B5EF4-FFF2-40B4-BE49-F238E27FC236}">
                <a16:creationId xmlns:a16="http://schemas.microsoft.com/office/drawing/2014/main" id="{B501060D-5D77-4985-B2B3-855FF7666E87}"/>
              </a:ext>
            </a:extLst>
          </p:cNvPr>
          <p:cNvSpPr/>
          <p:nvPr userDrawn="1"/>
        </p:nvSpPr>
        <p:spPr bwMode="gray">
          <a:xfrm>
            <a:off x="846313" y="-8020"/>
            <a:ext cx="8991600" cy="2490944"/>
          </a:xfrm>
          <a:custGeom>
            <a:avLst/>
            <a:gdLst>
              <a:gd name="connsiteX0" fmla="*/ 0 w 6743700"/>
              <a:gd name="connsiteY0" fmla="*/ 0 h 1864895"/>
              <a:gd name="connsiteX1" fmla="*/ 433137 w 6743700"/>
              <a:gd name="connsiteY1" fmla="*/ 1864895 h 1864895"/>
              <a:gd name="connsiteX2" fmla="*/ 6743700 w 6743700"/>
              <a:gd name="connsiteY2" fmla="*/ 415090 h 1864895"/>
              <a:gd name="connsiteX3" fmla="*/ 6647448 w 6743700"/>
              <a:gd name="connsiteY3" fmla="*/ 6016 h 1864895"/>
              <a:gd name="connsiteX4" fmla="*/ 0 w 6743700"/>
              <a:gd name="connsiteY4" fmla="*/ 0 h 1864895"/>
              <a:gd name="connsiteX0" fmla="*/ 0 w 6743700"/>
              <a:gd name="connsiteY0" fmla="*/ 0 h 1868208"/>
              <a:gd name="connsiteX1" fmla="*/ 429824 w 6743700"/>
              <a:gd name="connsiteY1" fmla="*/ 1868208 h 1868208"/>
              <a:gd name="connsiteX2" fmla="*/ 6743700 w 6743700"/>
              <a:gd name="connsiteY2" fmla="*/ 415090 h 1868208"/>
              <a:gd name="connsiteX3" fmla="*/ 6647448 w 6743700"/>
              <a:gd name="connsiteY3" fmla="*/ 6016 h 1868208"/>
              <a:gd name="connsiteX4" fmla="*/ 0 w 6743700"/>
              <a:gd name="connsiteY4" fmla="*/ 0 h 1868208"/>
              <a:gd name="connsiteX0" fmla="*/ 0 w 6743700"/>
              <a:gd name="connsiteY0" fmla="*/ 0 h 1868208"/>
              <a:gd name="connsiteX1" fmla="*/ 429824 w 6743700"/>
              <a:gd name="connsiteY1" fmla="*/ 1868208 h 1868208"/>
              <a:gd name="connsiteX2" fmla="*/ 6743700 w 6743700"/>
              <a:gd name="connsiteY2" fmla="*/ 418403 h 1868208"/>
              <a:gd name="connsiteX3" fmla="*/ 6647448 w 6743700"/>
              <a:gd name="connsiteY3" fmla="*/ 6016 h 1868208"/>
              <a:gd name="connsiteX4" fmla="*/ 0 w 6743700"/>
              <a:gd name="connsiteY4" fmla="*/ 0 h 1868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43700" h="1868208">
                <a:moveTo>
                  <a:pt x="0" y="0"/>
                </a:moveTo>
                <a:lnTo>
                  <a:pt x="429824" y="1868208"/>
                </a:lnTo>
                <a:lnTo>
                  <a:pt x="6743700" y="418403"/>
                </a:lnTo>
                <a:lnTo>
                  <a:pt x="6647448" y="6016"/>
                </a:lnTo>
                <a:lnTo>
                  <a:pt x="0" y="0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557F900-1B83-45E6-9918-0BFDF40697D1}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3CE31-A0BA-46A1-882F-AB6758FBE8F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E13759F-5A98-4E48-BC92-D81B75320975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335360" y="-1"/>
            <a:ext cx="8640445" cy="1626452"/>
          </a:xfrm>
          <a:custGeom>
            <a:avLst/>
            <a:gdLst>
              <a:gd name="connsiteX0" fmla="*/ 0 w 8640445"/>
              <a:gd name="connsiteY0" fmla="*/ 0 h 1626452"/>
              <a:gd name="connsiteX1" fmla="*/ 8640445 w 8640445"/>
              <a:gd name="connsiteY1" fmla="*/ 0 h 1626452"/>
              <a:gd name="connsiteX2" fmla="*/ 8640445 w 8640445"/>
              <a:gd name="connsiteY2" fmla="*/ 1626452 h 1626452"/>
              <a:gd name="connsiteX3" fmla="*/ 0 w 8640445"/>
              <a:gd name="connsiteY3" fmla="*/ 1626452 h 162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40445" h="1626452">
                <a:moveTo>
                  <a:pt x="0" y="0"/>
                </a:moveTo>
                <a:lnTo>
                  <a:pt x="8640445" y="0"/>
                </a:lnTo>
                <a:lnTo>
                  <a:pt x="8640445" y="1626452"/>
                </a:lnTo>
                <a:lnTo>
                  <a:pt x="0" y="1626452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DF37D70-3205-42B8-B80E-6243FC79B404}"/>
              </a:ext>
            </a:extLst>
          </p:cNvPr>
          <p:cNvSpPr>
            <a:spLocks noGrp="1"/>
          </p:cNvSpPr>
          <p:nvPr userDrawn="1">
            <p:ph type="title"/>
          </p:nvPr>
        </p:nvSpPr>
        <p:spPr bwMode="gray">
          <a:xfrm>
            <a:off x="1324746" y="623173"/>
            <a:ext cx="7380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386915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Diagramm und Tex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E69DCD5-74A1-417F-918A-9610F9EF60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591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6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E69DCD5-74A1-417F-918A-9610F9EF60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4485626-E85E-4A05-8809-28F5263F80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13000"/>
              </a:lnSpc>
              <a:buFontTx/>
              <a:buNone/>
            </a:pPr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13FC066-69EF-4BEA-861D-05FAE0E7905E}"/>
              </a:ext>
            </a:extLst>
          </p:cNvPr>
          <p:cNvGrpSpPr/>
          <p:nvPr userDrawn="1"/>
        </p:nvGrpSpPr>
        <p:grpSpPr bwMode="gray">
          <a:xfrm>
            <a:off x="335360" y="-8020"/>
            <a:ext cx="9502553" cy="2490944"/>
            <a:chOff x="260474" y="-6015"/>
            <a:chExt cx="7126915" cy="1868208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BEBF0BAA-83E7-4D92-80DB-BF5FEC90172E}"/>
                </a:ext>
              </a:extLst>
            </p:cNvPr>
            <p:cNvSpPr/>
            <p:nvPr/>
          </p:nvSpPr>
          <p:spPr bwMode="gray">
            <a:xfrm>
              <a:off x="260474" y="-1"/>
              <a:ext cx="6480334" cy="1219839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9" name="Freihandform 38">
              <a:extLst>
                <a:ext uri="{FF2B5EF4-FFF2-40B4-BE49-F238E27FC236}">
                  <a16:creationId xmlns:a16="http://schemas.microsoft.com/office/drawing/2014/main" id="{0DBACA75-CBD8-4638-BC05-DD08C95CD560}"/>
                </a:ext>
              </a:extLst>
            </p:cNvPr>
            <p:cNvSpPr/>
            <p:nvPr/>
          </p:nvSpPr>
          <p:spPr bwMode="gray">
            <a:xfrm>
              <a:off x="643689" y="-6015"/>
              <a:ext cx="6743700" cy="1868208"/>
            </a:xfrm>
            <a:custGeom>
              <a:avLst/>
              <a:gdLst>
                <a:gd name="connsiteX0" fmla="*/ 0 w 6743700"/>
                <a:gd name="connsiteY0" fmla="*/ 0 h 1864895"/>
                <a:gd name="connsiteX1" fmla="*/ 433137 w 6743700"/>
                <a:gd name="connsiteY1" fmla="*/ 1864895 h 1864895"/>
                <a:gd name="connsiteX2" fmla="*/ 6743700 w 6743700"/>
                <a:gd name="connsiteY2" fmla="*/ 415090 h 1864895"/>
                <a:gd name="connsiteX3" fmla="*/ 6647448 w 6743700"/>
                <a:gd name="connsiteY3" fmla="*/ 6016 h 1864895"/>
                <a:gd name="connsiteX4" fmla="*/ 0 w 6743700"/>
                <a:gd name="connsiteY4" fmla="*/ 0 h 1864895"/>
                <a:gd name="connsiteX0" fmla="*/ 0 w 6743700"/>
                <a:gd name="connsiteY0" fmla="*/ 0 h 1868208"/>
                <a:gd name="connsiteX1" fmla="*/ 429824 w 6743700"/>
                <a:gd name="connsiteY1" fmla="*/ 1868208 h 1868208"/>
                <a:gd name="connsiteX2" fmla="*/ 6743700 w 6743700"/>
                <a:gd name="connsiteY2" fmla="*/ 415090 h 1868208"/>
                <a:gd name="connsiteX3" fmla="*/ 6647448 w 6743700"/>
                <a:gd name="connsiteY3" fmla="*/ 6016 h 1868208"/>
                <a:gd name="connsiteX4" fmla="*/ 0 w 6743700"/>
                <a:gd name="connsiteY4" fmla="*/ 0 h 1868208"/>
                <a:gd name="connsiteX0" fmla="*/ 0 w 6743700"/>
                <a:gd name="connsiteY0" fmla="*/ 0 h 1868208"/>
                <a:gd name="connsiteX1" fmla="*/ 429824 w 6743700"/>
                <a:gd name="connsiteY1" fmla="*/ 1868208 h 1868208"/>
                <a:gd name="connsiteX2" fmla="*/ 6743700 w 6743700"/>
                <a:gd name="connsiteY2" fmla="*/ 418403 h 1868208"/>
                <a:gd name="connsiteX3" fmla="*/ 6647448 w 6743700"/>
                <a:gd name="connsiteY3" fmla="*/ 6016 h 1868208"/>
                <a:gd name="connsiteX4" fmla="*/ 0 w 6743700"/>
                <a:gd name="connsiteY4" fmla="*/ 0 h 1868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3700" h="1868208">
                  <a:moveTo>
                    <a:pt x="0" y="0"/>
                  </a:moveTo>
                  <a:lnTo>
                    <a:pt x="429824" y="1868208"/>
                  </a:lnTo>
                  <a:lnTo>
                    <a:pt x="6743700" y="418403"/>
                  </a:lnTo>
                  <a:lnTo>
                    <a:pt x="6647448" y="60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976E7E-66B6-47D2-9D7B-80700ADEF6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5DB896E-51FE-4379-A762-A8C1C810C5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Diagrammplatzhalter 8">
            <a:extLst>
              <a:ext uri="{FF2B5EF4-FFF2-40B4-BE49-F238E27FC236}">
                <a16:creationId xmlns:a16="http://schemas.microsoft.com/office/drawing/2014/main" id="{F0D70606-C809-4BF1-BC85-924E2AE70E08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 bwMode="gray">
          <a:xfrm>
            <a:off x="5593751" y="2924174"/>
            <a:ext cx="6263287" cy="2916717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5E6A5D7E-0143-4CB0-A07E-F4745144D4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3248980"/>
            <a:ext cx="4536000" cy="217047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400" b="0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28272D61-D08D-4B2F-A3DC-835B393C53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593751" y="5897215"/>
            <a:ext cx="6263287" cy="124073"/>
          </a:xfrm>
        </p:spPr>
        <p:txBody>
          <a:bodyPr wrap="square"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0" indent="0">
              <a:buNone/>
              <a:defRPr sz="800" b="0">
                <a:solidFill>
                  <a:schemeClr val="tx1"/>
                </a:solidFill>
              </a:defRPr>
            </a:lvl3pPr>
            <a:lvl4pPr marL="0" indent="0">
              <a:buNone/>
              <a:defRPr sz="800" b="0">
                <a:solidFill>
                  <a:schemeClr val="tx1"/>
                </a:solidFill>
              </a:defRPr>
            </a:lvl4pPr>
            <a:lvl5pPr marL="0" indent="0">
              <a:buNone/>
              <a:defRPr sz="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21C50330-10AB-480E-8BF9-234F19EBC5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924944"/>
            <a:ext cx="4536000" cy="279051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800" b="1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000" b="1">
                <a:solidFill>
                  <a:schemeClr val="tx2"/>
                </a:solidFill>
              </a:defRPr>
            </a:lvl2pPr>
            <a:lvl3pPr marL="0" indent="0">
              <a:buNone/>
              <a:defRPr sz="2000" b="1">
                <a:solidFill>
                  <a:schemeClr val="tx2"/>
                </a:solidFill>
              </a:defRPr>
            </a:lvl3pPr>
            <a:lvl4pPr marL="0" indent="0">
              <a:buNone/>
              <a:defRPr sz="2000" b="1">
                <a:solidFill>
                  <a:schemeClr val="tx2"/>
                </a:solidFill>
              </a:defRPr>
            </a:lvl4pPr>
            <a:lvl5pPr marL="0" indent="0">
              <a:buNone/>
              <a:defRPr sz="2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9" name="Textplatzhalter 8">
            <a:extLst>
              <a:ext uri="{FF2B5EF4-FFF2-40B4-BE49-F238E27FC236}">
                <a16:creationId xmlns:a16="http://schemas.microsoft.com/office/drawing/2014/main" id="{BA9753EA-FBA9-4F10-A960-016C1040DB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0" y="3645024"/>
            <a:ext cx="4536550" cy="237626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DC5DC26-F8AE-4616-AE61-61A2FC6A64F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4746" y="623173"/>
            <a:ext cx="7380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811D0F04-C71D-449D-A913-2E6EC03412A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2C19FF6A-48AB-4D1E-9023-BCB5CF48CC4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360" y="6317458"/>
            <a:ext cx="1152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7361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4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BDD804C-F6BF-4159-8EF6-9DD51C7ADD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308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9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BDD804C-F6BF-4159-8EF6-9DD51C7ADD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859744E-6BFE-497C-82B4-FBBA7B3F2A5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13000"/>
              </a:lnSpc>
              <a:buFontTx/>
              <a:buNone/>
            </a:pPr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90F8B58-133E-4215-B6F4-447036B8AFC7}"/>
              </a:ext>
            </a:extLst>
          </p:cNvPr>
          <p:cNvGrpSpPr/>
          <p:nvPr userDrawn="1"/>
        </p:nvGrpSpPr>
        <p:grpSpPr bwMode="gray">
          <a:xfrm>
            <a:off x="335360" y="-8020"/>
            <a:ext cx="9502553" cy="2490944"/>
            <a:chOff x="260474" y="-6015"/>
            <a:chExt cx="7126915" cy="1868208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5169515E-5770-4C4E-9611-C3E1AFFDD7D5}"/>
                </a:ext>
              </a:extLst>
            </p:cNvPr>
            <p:cNvSpPr/>
            <p:nvPr/>
          </p:nvSpPr>
          <p:spPr bwMode="gray">
            <a:xfrm>
              <a:off x="260474" y="-1"/>
              <a:ext cx="6480334" cy="1219839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8" name="Freihandform 38">
              <a:extLst>
                <a:ext uri="{FF2B5EF4-FFF2-40B4-BE49-F238E27FC236}">
                  <a16:creationId xmlns:a16="http://schemas.microsoft.com/office/drawing/2014/main" id="{8CBE617F-62B1-49D4-B1FF-1AC330F81A36}"/>
                </a:ext>
              </a:extLst>
            </p:cNvPr>
            <p:cNvSpPr/>
            <p:nvPr/>
          </p:nvSpPr>
          <p:spPr bwMode="gray">
            <a:xfrm>
              <a:off x="643689" y="-6015"/>
              <a:ext cx="6743700" cy="1868208"/>
            </a:xfrm>
            <a:custGeom>
              <a:avLst/>
              <a:gdLst>
                <a:gd name="connsiteX0" fmla="*/ 0 w 6743700"/>
                <a:gd name="connsiteY0" fmla="*/ 0 h 1864895"/>
                <a:gd name="connsiteX1" fmla="*/ 433137 w 6743700"/>
                <a:gd name="connsiteY1" fmla="*/ 1864895 h 1864895"/>
                <a:gd name="connsiteX2" fmla="*/ 6743700 w 6743700"/>
                <a:gd name="connsiteY2" fmla="*/ 415090 h 1864895"/>
                <a:gd name="connsiteX3" fmla="*/ 6647448 w 6743700"/>
                <a:gd name="connsiteY3" fmla="*/ 6016 h 1864895"/>
                <a:gd name="connsiteX4" fmla="*/ 0 w 6743700"/>
                <a:gd name="connsiteY4" fmla="*/ 0 h 1864895"/>
                <a:gd name="connsiteX0" fmla="*/ 0 w 6743700"/>
                <a:gd name="connsiteY0" fmla="*/ 0 h 1868208"/>
                <a:gd name="connsiteX1" fmla="*/ 429824 w 6743700"/>
                <a:gd name="connsiteY1" fmla="*/ 1868208 h 1868208"/>
                <a:gd name="connsiteX2" fmla="*/ 6743700 w 6743700"/>
                <a:gd name="connsiteY2" fmla="*/ 415090 h 1868208"/>
                <a:gd name="connsiteX3" fmla="*/ 6647448 w 6743700"/>
                <a:gd name="connsiteY3" fmla="*/ 6016 h 1868208"/>
                <a:gd name="connsiteX4" fmla="*/ 0 w 6743700"/>
                <a:gd name="connsiteY4" fmla="*/ 0 h 1868208"/>
                <a:gd name="connsiteX0" fmla="*/ 0 w 6743700"/>
                <a:gd name="connsiteY0" fmla="*/ 0 h 1868208"/>
                <a:gd name="connsiteX1" fmla="*/ 429824 w 6743700"/>
                <a:gd name="connsiteY1" fmla="*/ 1868208 h 1868208"/>
                <a:gd name="connsiteX2" fmla="*/ 6743700 w 6743700"/>
                <a:gd name="connsiteY2" fmla="*/ 418403 h 1868208"/>
                <a:gd name="connsiteX3" fmla="*/ 6647448 w 6743700"/>
                <a:gd name="connsiteY3" fmla="*/ 6016 h 1868208"/>
                <a:gd name="connsiteX4" fmla="*/ 0 w 6743700"/>
                <a:gd name="connsiteY4" fmla="*/ 0 h 1868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3700" h="1868208">
                  <a:moveTo>
                    <a:pt x="0" y="0"/>
                  </a:moveTo>
                  <a:lnTo>
                    <a:pt x="429824" y="1868208"/>
                  </a:lnTo>
                  <a:lnTo>
                    <a:pt x="6743700" y="418403"/>
                  </a:lnTo>
                  <a:lnTo>
                    <a:pt x="6647448" y="60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63D8B59-CDFF-47E1-BD35-8A47228695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48E52B-61A0-435C-AB12-EAE644826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D55A091D-95BC-4116-B785-E1149E76292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4746" y="623173"/>
            <a:ext cx="7380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B89F753-7E79-4A1B-8C97-620D42FBB5F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026E1071-1C18-4EA3-B440-98E42000149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360" y="6317458"/>
            <a:ext cx="1152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5786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42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Tex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155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4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528D182-E4E8-49E3-8795-36960DA399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6000" y="1304417"/>
            <a:ext cx="9792000" cy="380104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buFont typeface="Arial" panose="020B0604020202020204" pitchFamily="34" charset="0"/>
              <a:buNone/>
              <a:defRPr sz="2600" b="0" spc="-2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buFont typeface="Arial" panose="020B0604020202020204" pitchFamily="34" charset="0"/>
              <a:buNone/>
              <a:defRPr sz="2800" b="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3pPr>
            <a:lvl4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4pPr>
            <a:lvl5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Untertitel durch Klicken bearbeiten (optional)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0" y="1844824"/>
            <a:ext cx="11160000" cy="417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BF86CC5-67C9-4C2D-9EFB-EB02A80CCD0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96E6790-AD71-4366-B2BC-F83C85CD192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39CAFC6-4CAB-4709-9DDC-903A98B49526}"/>
              </a:ext>
            </a:extLst>
          </p:cNvPr>
          <p:cNvGrpSpPr/>
          <p:nvPr userDrawn="1"/>
        </p:nvGrpSpPr>
        <p:grpSpPr bwMode="gray">
          <a:xfrm rot="10800000">
            <a:off x="7680175" y="6087015"/>
            <a:ext cx="4176464" cy="770983"/>
            <a:chOff x="266132" y="0"/>
            <a:chExt cx="5613810" cy="103632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A04E1871-384E-4076-8713-FBAB586743FD}"/>
                </a:ext>
              </a:extLst>
            </p:cNvPr>
            <p:cNvSpPr/>
            <p:nvPr/>
          </p:nvSpPr>
          <p:spPr bwMode="gray">
            <a:xfrm>
              <a:off x="266132" y="0"/>
              <a:ext cx="561381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13" name="Freihandform 23">
              <a:extLst>
                <a:ext uri="{FF2B5EF4-FFF2-40B4-BE49-F238E27FC236}">
                  <a16:creationId xmlns:a16="http://schemas.microsoft.com/office/drawing/2014/main" id="{8ACBA0CE-A4B2-4444-A2D3-A62B94BBC6F8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136866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01 mit Stemp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 11">
            <a:extLst>
              <a:ext uri="{FF2B5EF4-FFF2-40B4-BE49-F238E27FC236}">
                <a16:creationId xmlns:a16="http://schemas.microsoft.com/office/drawing/2014/main" id="{345B8CC5-06C1-472D-9579-229E85ACF8E4}"/>
              </a:ext>
            </a:extLst>
          </p:cNvPr>
          <p:cNvSpPr/>
          <p:nvPr userDrawn="1"/>
        </p:nvSpPr>
        <p:spPr bwMode="gray">
          <a:xfrm>
            <a:off x="144780" y="-7619"/>
            <a:ext cx="9357360" cy="4076700"/>
          </a:xfrm>
          <a:custGeom>
            <a:avLst/>
            <a:gdLst>
              <a:gd name="connsiteX0" fmla="*/ 0 w 7018020"/>
              <a:gd name="connsiteY0" fmla="*/ 0 h 3057525"/>
              <a:gd name="connsiteX1" fmla="*/ 714375 w 7018020"/>
              <a:gd name="connsiteY1" fmla="*/ 3057525 h 3057525"/>
              <a:gd name="connsiteX2" fmla="*/ 7018020 w 7018020"/>
              <a:gd name="connsiteY2" fmla="*/ 1600200 h 3057525"/>
              <a:gd name="connsiteX3" fmla="*/ 6652260 w 7018020"/>
              <a:gd name="connsiteY3" fmla="*/ 5715 h 3057525"/>
              <a:gd name="connsiteX4" fmla="*/ 0 w 7018020"/>
              <a:gd name="connsiteY4" fmla="*/ 0 h 305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18020" h="3057525">
                <a:moveTo>
                  <a:pt x="0" y="0"/>
                </a:moveTo>
                <a:lnTo>
                  <a:pt x="714375" y="3057525"/>
                </a:lnTo>
                <a:lnTo>
                  <a:pt x="7018020" y="1600200"/>
                </a:lnTo>
                <a:lnTo>
                  <a:pt x="6652260" y="5715"/>
                </a:lnTo>
                <a:lnTo>
                  <a:pt x="0" y="0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178B517-5906-4BB1-B0FC-C8DC054AAF36}"/>
              </a:ext>
            </a:extLst>
          </p:cNvPr>
          <p:cNvSpPr/>
          <p:nvPr userDrawn="1"/>
        </p:nvSpPr>
        <p:spPr bwMode="gray">
          <a:xfrm>
            <a:off x="-5" y="0"/>
            <a:ext cx="8640445" cy="3217547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4EFD84D-7620-4378-B33F-72E1F06AAE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0442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4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4EFD84D-7620-4378-B33F-72E1F06AA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6FBC020-F7BC-491F-A515-7633C9383B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31996BA-DEBA-4422-8751-889EF72798A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960000" y="1345624"/>
            <a:ext cx="7416000" cy="526298"/>
          </a:xfrm>
        </p:spPr>
        <p:txBody>
          <a:bodyPr anchor="ctr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AC5A5B-2679-4974-BA5D-19265FF288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0000" y="5079957"/>
            <a:ext cx="4356000" cy="307777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Kolpingsfamilie Beispielhaus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E94ABF0D-D15C-4EE3-B3EB-0D61FAD821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60000" y="5432738"/>
            <a:ext cx="4356000" cy="307777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T. Monat 20XX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51848211-9774-4D0C-9DA2-0F501977F5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960000" y="5785519"/>
            <a:ext cx="4356000" cy="307777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Name, Funktion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0280999A-8E56-4156-8600-9E3E35FDA06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5460843" y="5325512"/>
            <a:ext cx="3179597" cy="695876"/>
          </a:xfrm>
        </p:spPr>
        <p:txBody>
          <a:bodyPr/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78A93654-10BB-4A8A-A13A-AE02708FB69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9831968" y="5045190"/>
            <a:ext cx="1664632" cy="1084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1642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Text zweispaltig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9744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528D182-E4E8-49E3-8795-36960DA399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6000" y="1304417"/>
            <a:ext cx="9792000" cy="380104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buFont typeface="Arial" panose="020B0604020202020204" pitchFamily="34" charset="0"/>
              <a:buNone/>
              <a:defRPr sz="2600" b="0" spc="-2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buFont typeface="Arial" panose="020B0604020202020204" pitchFamily="34" charset="0"/>
              <a:buNone/>
              <a:defRPr sz="2800" b="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3pPr>
            <a:lvl4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4pPr>
            <a:lvl5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Untertitel durch Klicken bearbeiten (optional)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1" y="1844824"/>
            <a:ext cx="5292000" cy="41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BB564BB-1056-4898-A717-B9A6FACCAE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564052" y="1844824"/>
            <a:ext cx="5292000" cy="41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73EAD92-206F-442C-8044-262B90A887C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1FF8ECD-CB67-4129-B770-D16090080648}"/>
              </a:ext>
            </a:extLst>
          </p:cNvPr>
          <p:cNvGrpSpPr/>
          <p:nvPr userDrawn="1"/>
        </p:nvGrpSpPr>
        <p:grpSpPr bwMode="gray">
          <a:xfrm rot="10800000">
            <a:off x="7680175" y="6087015"/>
            <a:ext cx="4176464" cy="770983"/>
            <a:chOff x="266132" y="0"/>
            <a:chExt cx="5613810" cy="1036320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FF4D703-F38C-48A9-B752-27C0E25DB41F}"/>
                </a:ext>
              </a:extLst>
            </p:cNvPr>
            <p:cNvSpPr/>
            <p:nvPr/>
          </p:nvSpPr>
          <p:spPr bwMode="gray">
            <a:xfrm>
              <a:off x="266132" y="0"/>
              <a:ext cx="561381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14" name="Freihandform 23">
              <a:extLst>
                <a:ext uri="{FF2B5EF4-FFF2-40B4-BE49-F238E27FC236}">
                  <a16:creationId xmlns:a16="http://schemas.microsoft.com/office/drawing/2014/main" id="{0A56BF64-24FE-4949-BE19-C4A1B17345F3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16" name="Titel 15">
            <a:extLst>
              <a:ext uri="{FF2B5EF4-FFF2-40B4-BE49-F238E27FC236}">
                <a16:creationId xmlns:a16="http://schemas.microsoft.com/office/drawing/2014/main" id="{543D5F05-F295-463C-98C6-D232C3B8346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146610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Text und Bild 01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0932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528D182-E4E8-49E3-8795-36960DA399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6000" y="1304417"/>
            <a:ext cx="9792000" cy="380104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buFont typeface="Arial" panose="020B0604020202020204" pitchFamily="34" charset="0"/>
              <a:buNone/>
              <a:defRPr sz="2600" b="0" spc="-2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buFont typeface="Arial" panose="020B0604020202020204" pitchFamily="34" charset="0"/>
              <a:buNone/>
              <a:defRPr sz="2800" b="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3pPr>
            <a:lvl4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4pPr>
            <a:lvl5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Untertitel durch Klicken bearbeiten (optional)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0" y="1844824"/>
            <a:ext cx="7560000" cy="417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E6E6BA02-16FD-47F5-91FE-F4AF62815B5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8616640" y="1844824"/>
            <a:ext cx="3240000" cy="3167559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DEAFC15-61CE-4990-9219-845F39581B8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615C20CA-AED3-47E9-BB3D-18836C91B789}"/>
              </a:ext>
            </a:extLst>
          </p:cNvPr>
          <p:cNvGrpSpPr/>
          <p:nvPr userDrawn="1"/>
        </p:nvGrpSpPr>
        <p:grpSpPr bwMode="gray">
          <a:xfrm rot="10800000">
            <a:off x="7680175" y="6087015"/>
            <a:ext cx="4176464" cy="770983"/>
            <a:chOff x="266132" y="0"/>
            <a:chExt cx="5613810" cy="1036320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184E506C-CDBD-4BCE-B9DF-01D419F29F53}"/>
                </a:ext>
              </a:extLst>
            </p:cNvPr>
            <p:cNvSpPr/>
            <p:nvPr/>
          </p:nvSpPr>
          <p:spPr bwMode="gray">
            <a:xfrm>
              <a:off x="266132" y="0"/>
              <a:ext cx="561381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14" name="Freihandform 23">
              <a:extLst>
                <a:ext uri="{FF2B5EF4-FFF2-40B4-BE49-F238E27FC236}">
                  <a16:creationId xmlns:a16="http://schemas.microsoft.com/office/drawing/2014/main" id="{88255F82-5F5B-42B6-A8A2-73D1C9020C4E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5" name="Titel 4">
            <a:extLst>
              <a:ext uri="{FF2B5EF4-FFF2-40B4-BE49-F238E27FC236}">
                <a16:creationId xmlns:a16="http://schemas.microsoft.com/office/drawing/2014/main" id="{B378227F-A9D1-43C8-A20F-99AB5E18464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059119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Text und Bild 02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2274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528D182-E4E8-49E3-8795-36960DA399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6000" y="1304417"/>
            <a:ext cx="9792000" cy="380104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buFont typeface="Arial" panose="020B0604020202020204" pitchFamily="34" charset="0"/>
              <a:buNone/>
              <a:defRPr sz="2600" b="0" spc="-2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buFont typeface="Arial" panose="020B0604020202020204" pitchFamily="34" charset="0"/>
              <a:buNone/>
              <a:defRPr sz="2800" b="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3pPr>
            <a:lvl4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4pPr>
            <a:lvl5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Untertitel durch Klicken bearbeiten (optional)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0" y="1844824"/>
            <a:ext cx="4536000" cy="41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E6E6BA02-16FD-47F5-91FE-F4AF62815B5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5592640" y="1844823"/>
            <a:ext cx="6264000" cy="4176000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1D3A196-EC48-4508-9945-F8EA050616C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952D025-6E55-485E-B0B2-4589FEB8FE8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87D6CC5-D74E-416B-8882-573423024D85}"/>
              </a:ext>
            </a:extLst>
          </p:cNvPr>
          <p:cNvGrpSpPr/>
          <p:nvPr userDrawn="1"/>
        </p:nvGrpSpPr>
        <p:grpSpPr bwMode="gray">
          <a:xfrm rot="10800000">
            <a:off x="7680175" y="6087015"/>
            <a:ext cx="4176464" cy="770983"/>
            <a:chOff x="266132" y="0"/>
            <a:chExt cx="5613810" cy="1036320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BD231E96-B9D1-442D-8A8E-723DD3699AA9}"/>
                </a:ext>
              </a:extLst>
            </p:cNvPr>
            <p:cNvSpPr/>
            <p:nvPr/>
          </p:nvSpPr>
          <p:spPr bwMode="gray">
            <a:xfrm>
              <a:off x="266132" y="0"/>
              <a:ext cx="561381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15" name="Freihandform 23">
              <a:extLst>
                <a:ext uri="{FF2B5EF4-FFF2-40B4-BE49-F238E27FC236}">
                  <a16:creationId xmlns:a16="http://schemas.microsoft.com/office/drawing/2014/main" id="{EBC9A3D3-ED6B-41B1-A4AE-21F236FB1EFE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32626282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Text und zwei Bilder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1513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4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E6E6BA02-16FD-47F5-91FE-F4AF62815B5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695999" y="1844675"/>
            <a:ext cx="6264205" cy="4176713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528D182-E4E8-49E3-8795-36960DA399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6000" y="1304417"/>
            <a:ext cx="9792000" cy="380104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buFont typeface="Arial" panose="020B0604020202020204" pitchFamily="34" charset="0"/>
              <a:buNone/>
              <a:defRPr sz="2600" b="0" spc="-2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buFont typeface="Arial" panose="020B0604020202020204" pitchFamily="34" charset="0"/>
              <a:buNone/>
              <a:defRPr sz="2800" b="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3pPr>
            <a:lvl4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4pPr>
            <a:lvl5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Untertitel durch Klicken bearbeiten (optional)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7321406" y="4509288"/>
            <a:ext cx="4536616" cy="151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1B81A0A2-5BB2-4205-8498-FA6DD27236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7321054" y="1844825"/>
            <a:ext cx="4535984" cy="2518290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4EDD9FC-6A21-4E23-BFAA-300CF420CCE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7E8551C-155D-4AF7-ACF2-B6FDDED2651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1AC26E0E-F94F-4B36-8D69-9AF203BB617F}"/>
              </a:ext>
            </a:extLst>
          </p:cNvPr>
          <p:cNvGrpSpPr/>
          <p:nvPr userDrawn="1"/>
        </p:nvGrpSpPr>
        <p:grpSpPr bwMode="gray">
          <a:xfrm rot="10800000">
            <a:off x="7680175" y="6087015"/>
            <a:ext cx="4176464" cy="770983"/>
            <a:chOff x="266132" y="0"/>
            <a:chExt cx="5613810" cy="1036320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65F62815-CBFC-44FF-A36F-6042568BAA2E}"/>
                </a:ext>
              </a:extLst>
            </p:cNvPr>
            <p:cNvSpPr/>
            <p:nvPr/>
          </p:nvSpPr>
          <p:spPr bwMode="gray">
            <a:xfrm>
              <a:off x="266132" y="0"/>
              <a:ext cx="561381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15" name="Freihandform 23">
              <a:extLst>
                <a:ext uri="{FF2B5EF4-FFF2-40B4-BE49-F238E27FC236}">
                  <a16:creationId xmlns:a16="http://schemas.microsoft.com/office/drawing/2014/main" id="{990E615F-CC63-4E22-92EA-C202A7F0E739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37532159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Text und drei Bilder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6005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528D182-E4E8-49E3-8795-36960DA399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6000" y="1304417"/>
            <a:ext cx="9791400" cy="380104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buFont typeface="Arial" panose="020B0604020202020204" pitchFamily="34" charset="0"/>
              <a:buNone/>
              <a:defRPr sz="2600" b="0" spc="-2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buFont typeface="Arial" panose="020B0604020202020204" pitchFamily="34" charset="0"/>
              <a:buNone/>
              <a:defRPr sz="2800" b="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3pPr>
            <a:lvl4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4pPr>
            <a:lvl5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Untertitel durch Klicken bearbeiten (optional)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0" y="1844824"/>
            <a:ext cx="11160000" cy="417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84B0EFB-3083-43D3-8389-2D02165DB415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6676BE9F-0E1E-4A5B-B76B-49DCDEEDC99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7105987" y="3977283"/>
            <a:ext cx="1508143" cy="2044005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595F7FA4-3B0A-4F9C-A5F3-5210252369D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727242" y="3977283"/>
            <a:ext cx="1508143" cy="2044005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2" name="Bildplatzhalter 7">
            <a:extLst>
              <a:ext uri="{FF2B5EF4-FFF2-40B4-BE49-F238E27FC236}">
                <a16:creationId xmlns:a16="http://schemas.microsoft.com/office/drawing/2014/main" id="{5F9FD67C-EBBC-4FAB-B820-EF8DC86C9F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10348497" y="3977283"/>
            <a:ext cx="1508143" cy="2044005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ED7672C7-E241-4555-90B4-2E82F879D38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83706F85-3BD2-44D1-8C8B-AE7A76E53DDD}"/>
              </a:ext>
            </a:extLst>
          </p:cNvPr>
          <p:cNvGrpSpPr/>
          <p:nvPr userDrawn="1"/>
        </p:nvGrpSpPr>
        <p:grpSpPr bwMode="gray">
          <a:xfrm rot="10800000">
            <a:off x="7680175" y="6087015"/>
            <a:ext cx="4176464" cy="770983"/>
            <a:chOff x="266132" y="0"/>
            <a:chExt cx="5613810" cy="1036320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36E71BD0-D7C4-431D-A377-A8ADD6934B49}"/>
                </a:ext>
              </a:extLst>
            </p:cNvPr>
            <p:cNvSpPr/>
            <p:nvPr/>
          </p:nvSpPr>
          <p:spPr bwMode="gray">
            <a:xfrm>
              <a:off x="266132" y="0"/>
              <a:ext cx="561381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16" name="Freihandform 23">
              <a:extLst>
                <a:ext uri="{FF2B5EF4-FFF2-40B4-BE49-F238E27FC236}">
                  <a16:creationId xmlns:a16="http://schemas.microsoft.com/office/drawing/2014/main" id="{242C54A5-061B-4450-885B-E26B6A1D565E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4650322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Diagramm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8486C6F-27DB-4D63-891E-B5FB0A7C8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558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3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B295ED-4258-4CB1-822E-55597AFAEA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13000"/>
              </a:lnSpc>
              <a:buFontTx/>
              <a:buNone/>
            </a:pPr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976E7E-66B6-47D2-9D7B-80700ADEF6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5DB896E-51FE-4379-A762-A8C1C810C5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1A60998-B17B-414D-AD6C-2B6C6C2A763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6000" y="1304417"/>
            <a:ext cx="9792000" cy="380104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buFont typeface="Arial" panose="020B0604020202020204" pitchFamily="34" charset="0"/>
              <a:buNone/>
              <a:defRPr sz="2600" b="0" spc="-2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buFont typeface="Arial" panose="020B0604020202020204" pitchFamily="34" charset="0"/>
              <a:buNone/>
              <a:defRPr sz="2800" b="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3pPr>
            <a:lvl4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4pPr>
            <a:lvl5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Untertitel durch Klicken bearbeiten (optional)</a:t>
            </a:r>
          </a:p>
        </p:txBody>
      </p:sp>
      <p:sp>
        <p:nvSpPr>
          <p:cNvPr id="10" name="Diagrammplatzhalter 8">
            <a:extLst>
              <a:ext uri="{FF2B5EF4-FFF2-40B4-BE49-F238E27FC236}">
                <a16:creationId xmlns:a16="http://schemas.microsoft.com/office/drawing/2014/main" id="{CD41A8D7-9ABF-41A5-AC31-A96D184ED173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 bwMode="gray">
          <a:xfrm>
            <a:off x="695399" y="2456892"/>
            <a:ext cx="11160000" cy="3384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7A6E15E-46AD-46B0-969F-DE0E7F4B7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5" y="2168860"/>
            <a:ext cx="11160000" cy="217047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400" b="0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0F476CC0-3C2A-432C-BD82-AF2D720B63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95325" y="5888879"/>
            <a:ext cx="11160000" cy="132409"/>
          </a:xfrm>
        </p:spPr>
        <p:txBody>
          <a:bodyPr wrap="square"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0" indent="0">
              <a:buNone/>
              <a:defRPr sz="800" b="0">
                <a:solidFill>
                  <a:schemeClr val="tx1"/>
                </a:solidFill>
              </a:defRPr>
            </a:lvl3pPr>
            <a:lvl4pPr marL="0" indent="0">
              <a:buNone/>
              <a:defRPr sz="800" b="0">
                <a:solidFill>
                  <a:schemeClr val="tx1"/>
                </a:solidFill>
              </a:defRPr>
            </a:lvl4pPr>
            <a:lvl5pPr marL="0" indent="0">
              <a:buNone/>
              <a:defRPr sz="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7B327A21-630C-4CEB-888F-978CF15643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325" y="1844824"/>
            <a:ext cx="11160000" cy="279051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800" b="1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000" b="1">
                <a:solidFill>
                  <a:schemeClr val="tx2"/>
                </a:solidFill>
              </a:defRPr>
            </a:lvl2pPr>
            <a:lvl3pPr marL="0" indent="0">
              <a:buNone/>
              <a:defRPr sz="2000" b="1">
                <a:solidFill>
                  <a:schemeClr val="tx2"/>
                </a:solidFill>
              </a:defRPr>
            </a:lvl3pPr>
            <a:lvl4pPr marL="0" indent="0">
              <a:buNone/>
              <a:defRPr sz="2000" b="1">
                <a:solidFill>
                  <a:schemeClr val="tx2"/>
                </a:solidFill>
              </a:defRPr>
            </a:lvl4pPr>
            <a:lvl5pPr marL="0" indent="0">
              <a:buNone/>
              <a:defRPr sz="2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Platzhalter für den Diagrammtitel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9EF54AA-E088-4B44-BA58-B38E4D57B05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E814CC8A-1EB6-423B-B452-1F8A280DD3C4}"/>
              </a:ext>
            </a:extLst>
          </p:cNvPr>
          <p:cNvGrpSpPr/>
          <p:nvPr userDrawn="1"/>
        </p:nvGrpSpPr>
        <p:grpSpPr bwMode="gray">
          <a:xfrm rot="10800000">
            <a:off x="7680175" y="6087015"/>
            <a:ext cx="4176464" cy="770983"/>
            <a:chOff x="266132" y="0"/>
            <a:chExt cx="5613810" cy="1036320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DA281CFD-7CA9-4D35-B62A-BF859F74B626}"/>
                </a:ext>
              </a:extLst>
            </p:cNvPr>
            <p:cNvSpPr/>
            <p:nvPr/>
          </p:nvSpPr>
          <p:spPr bwMode="gray">
            <a:xfrm>
              <a:off x="266132" y="0"/>
              <a:ext cx="561381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17" name="Freihandform 23">
              <a:extLst>
                <a:ext uri="{FF2B5EF4-FFF2-40B4-BE49-F238E27FC236}">
                  <a16:creationId xmlns:a16="http://schemas.microsoft.com/office/drawing/2014/main" id="{A976137F-33C8-4198-A496-7DF351879A92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7" name="Titel 6">
            <a:extLst>
              <a:ext uri="{FF2B5EF4-FFF2-40B4-BE49-F238E27FC236}">
                <a16:creationId xmlns:a16="http://schemas.microsoft.com/office/drawing/2014/main" id="{FF9F5485-5417-4A16-9E73-3F5CBEDF27D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972571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zwei Diagramm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C90CAB-6876-44AE-9D19-94C1931837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4287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AF3E650-8E5B-44D8-84E6-4FF463C2F4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13000"/>
              </a:lnSpc>
              <a:buFontTx/>
              <a:buNone/>
            </a:pPr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976E7E-66B6-47D2-9D7B-80700ADEF6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5DB896E-51FE-4379-A762-A8C1C810C5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F6F0B4EE-00C4-4964-B989-85EE6C79D9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6000" y="1304417"/>
            <a:ext cx="9792000" cy="380104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buFont typeface="Arial" panose="020B0604020202020204" pitchFamily="34" charset="0"/>
              <a:buNone/>
              <a:defRPr sz="2600" b="0" spc="-2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buFont typeface="Arial" panose="020B0604020202020204" pitchFamily="34" charset="0"/>
              <a:buNone/>
              <a:defRPr sz="2800" b="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3pPr>
            <a:lvl4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4pPr>
            <a:lvl5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Untertitel durch Klicken bearbeiten (optional)</a:t>
            </a:r>
          </a:p>
        </p:txBody>
      </p:sp>
      <p:sp>
        <p:nvSpPr>
          <p:cNvPr id="14" name="Diagrammplatzhalter 8">
            <a:extLst>
              <a:ext uri="{FF2B5EF4-FFF2-40B4-BE49-F238E27FC236}">
                <a16:creationId xmlns:a16="http://schemas.microsoft.com/office/drawing/2014/main" id="{1B9B64F8-94AE-4D2E-A621-06313D4A0CD8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 bwMode="gray">
          <a:xfrm>
            <a:off x="695398" y="2456892"/>
            <a:ext cx="5292000" cy="3384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06B01C08-025F-45EF-87DC-2FBA59C16CD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4" y="2168860"/>
            <a:ext cx="5292000" cy="217047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400" b="0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5939E0F3-DA9E-4F63-8468-F49D74ACF0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95324" y="5897215"/>
            <a:ext cx="5292000" cy="124073"/>
          </a:xfrm>
        </p:spPr>
        <p:txBody>
          <a:bodyPr wrap="square"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0" indent="0">
              <a:buNone/>
              <a:defRPr sz="800" b="0">
                <a:solidFill>
                  <a:schemeClr val="tx1"/>
                </a:solidFill>
              </a:defRPr>
            </a:lvl3pPr>
            <a:lvl4pPr marL="0" indent="0">
              <a:buNone/>
              <a:defRPr sz="800" b="0">
                <a:solidFill>
                  <a:schemeClr val="tx1"/>
                </a:solidFill>
              </a:defRPr>
            </a:lvl4pPr>
            <a:lvl5pPr marL="0" indent="0">
              <a:buNone/>
              <a:defRPr sz="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A31FDE6A-7D70-4CAD-8848-1B1E4ABC00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324" y="1844824"/>
            <a:ext cx="5292000" cy="279051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800" b="1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000" b="1">
                <a:solidFill>
                  <a:schemeClr val="tx2"/>
                </a:solidFill>
              </a:defRPr>
            </a:lvl2pPr>
            <a:lvl3pPr marL="0" indent="0">
              <a:buNone/>
              <a:defRPr sz="2000" b="1">
                <a:solidFill>
                  <a:schemeClr val="tx2"/>
                </a:solidFill>
              </a:defRPr>
            </a:lvl3pPr>
            <a:lvl4pPr marL="0" indent="0">
              <a:buNone/>
              <a:defRPr sz="2000" b="1">
                <a:solidFill>
                  <a:schemeClr val="tx2"/>
                </a:solidFill>
              </a:defRPr>
            </a:lvl4pPr>
            <a:lvl5pPr marL="0" indent="0">
              <a:buNone/>
              <a:defRPr sz="2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8" name="Diagrammplatzhalter 8">
            <a:extLst>
              <a:ext uri="{FF2B5EF4-FFF2-40B4-BE49-F238E27FC236}">
                <a16:creationId xmlns:a16="http://schemas.microsoft.com/office/drawing/2014/main" id="{C66EF096-B96B-4341-A80D-292DF81D2A61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 bwMode="gray">
          <a:xfrm>
            <a:off x="6564127" y="2456892"/>
            <a:ext cx="5292000" cy="3384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9434AE07-CCB5-420D-A9D4-3930A916F2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564053" y="2168860"/>
            <a:ext cx="5292000" cy="217047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400" b="0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E1D749AC-48A8-4A9E-90CD-D71DEB5555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64052" y="5897215"/>
            <a:ext cx="5292000" cy="124073"/>
          </a:xfrm>
        </p:spPr>
        <p:txBody>
          <a:bodyPr wrap="square"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0" indent="0">
              <a:buNone/>
              <a:defRPr sz="800" b="0">
                <a:solidFill>
                  <a:schemeClr val="tx1"/>
                </a:solidFill>
              </a:defRPr>
            </a:lvl3pPr>
            <a:lvl4pPr marL="0" indent="0">
              <a:buNone/>
              <a:defRPr sz="800" b="0">
                <a:solidFill>
                  <a:schemeClr val="tx1"/>
                </a:solidFill>
              </a:defRPr>
            </a:lvl4pPr>
            <a:lvl5pPr marL="0" indent="0">
              <a:buNone/>
              <a:defRPr sz="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846F28FA-AD22-411C-98C8-31C2512516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64053" y="1844824"/>
            <a:ext cx="5292000" cy="279051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800" b="1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000" b="1">
                <a:solidFill>
                  <a:schemeClr val="tx2"/>
                </a:solidFill>
              </a:defRPr>
            </a:lvl2pPr>
            <a:lvl3pPr marL="0" indent="0">
              <a:buNone/>
              <a:defRPr sz="2000" b="1">
                <a:solidFill>
                  <a:schemeClr val="tx2"/>
                </a:solidFill>
              </a:defRPr>
            </a:lvl3pPr>
            <a:lvl4pPr marL="0" indent="0">
              <a:buNone/>
              <a:defRPr sz="2000" b="1">
                <a:solidFill>
                  <a:schemeClr val="tx2"/>
                </a:solidFill>
              </a:defRPr>
            </a:lvl4pPr>
            <a:lvl5pPr marL="0" indent="0">
              <a:buNone/>
              <a:defRPr sz="2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EDBD2D45-EFD0-46D1-A06F-52549844E3C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28B1E8F4-9108-4ECD-A92F-8471A025B46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567D4DEE-80AE-4E78-9B35-C278EA1A8C71}"/>
              </a:ext>
            </a:extLst>
          </p:cNvPr>
          <p:cNvGrpSpPr/>
          <p:nvPr userDrawn="1"/>
        </p:nvGrpSpPr>
        <p:grpSpPr bwMode="gray">
          <a:xfrm rot="10800000">
            <a:off x="7680175" y="6087015"/>
            <a:ext cx="4176464" cy="770983"/>
            <a:chOff x="266132" y="0"/>
            <a:chExt cx="5613810" cy="1036320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024073EA-3B5D-4F19-9D3C-D8D8744013D0}"/>
                </a:ext>
              </a:extLst>
            </p:cNvPr>
            <p:cNvSpPr/>
            <p:nvPr/>
          </p:nvSpPr>
          <p:spPr bwMode="gray">
            <a:xfrm>
              <a:off x="266132" y="0"/>
              <a:ext cx="561381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25" name="Freihandform 23">
              <a:extLst>
                <a:ext uri="{FF2B5EF4-FFF2-40B4-BE49-F238E27FC236}">
                  <a16:creationId xmlns:a16="http://schemas.microsoft.com/office/drawing/2014/main" id="{D1EEB460-3D9A-4A54-A222-604AE4DABF9D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28837652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Diagramm und Tex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E69DCD5-74A1-417F-918A-9610F9EF60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2628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8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4485626-E85E-4A05-8809-28F5263F80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13000"/>
              </a:lnSpc>
              <a:buFontTx/>
              <a:buNone/>
            </a:pPr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976E7E-66B6-47D2-9D7B-80700ADEF6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5DB896E-51FE-4379-A762-A8C1C810C5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65CDE058-77AA-4C74-8762-1B3D92A62B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6000" y="1304417"/>
            <a:ext cx="9792000" cy="380104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buFont typeface="Arial" panose="020B0604020202020204" pitchFamily="34" charset="0"/>
              <a:buNone/>
              <a:defRPr sz="2600" b="0" spc="-2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buFont typeface="Arial" panose="020B0604020202020204" pitchFamily="34" charset="0"/>
              <a:buNone/>
              <a:defRPr sz="2800" b="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3pPr>
            <a:lvl4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4pPr>
            <a:lvl5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Untertitel durch Klicken bearbeiten (optional)</a:t>
            </a:r>
          </a:p>
        </p:txBody>
      </p:sp>
      <p:sp>
        <p:nvSpPr>
          <p:cNvPr id="15" name="Diagrammplatzhalter 8">
            <a:extLst>
              <a:ext uri="{FF2B5EF4-FFF2-40B4-BE49-F238E27FC236}">
                <a16:creationId xmlns:a16="http://schemas.microsoft.com/office/drawing/2014/main" id="{F0D70606-C809-4BF1-BC85-924E2AE70E08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 bwMode="gray">
          <a:xfrm>
            <a:off x="695474" y="2456892"/>
            <a:ext cx="6263287" cy="3384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5E6A5D7E-0143-4CB0-A07E-F4745144D4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2168860"/>
            <a:ext cx="6263287" cy="217047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400" b="0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28272D61-D08D-4B2F-A3DC-835B393C53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95400" y="5897215"/>
            <a:ext cx="6263287" cy="124073"/>
          </a:xfrm>
        </p:spPr>
        <p:txBody>
          <a:bodyPr wrap="square"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0" indent="0">
              <a:buNone/>
              <a:defRPr sz="800" b="0">
                <a:solidFill>
                  <a:schemeClr val="tx1"/>
                </a:solidFill>
              </a:defRPr>
            </a:lvl3pPr>
            <a:lvl4pPr marL="0" indent="0">
              <a:buNone/>
              <a:defRPr sz="800" b="0">
                <a:solidFill>
                  <a:schemeClr val="tx1"/>
                </a:solidFill>
              </a:defRPr>
            </a:lvl4pPr>
            <a:lvl5pPr marL="0" indent="0">
              <a:buNone/>
              <a:defRPr sz="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21C50330-10AB-480E-8BF9-234F19EBC5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1844824"/>
            <a:ext cx="6263287" cy="279051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800" b="1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000" b="1">
                <a:solidFill>
                  <a:schemeClr val="tx2"/>
                </a:solidFill>
              </a:defRPr>
            </a:lvl2pPr>
            <a:lvl3pPr marL="0" indent="0">
              <a:buNone/>
              <a:defRPr sz="2000" b="1">
                <a:solidFill>
                  <a:schemeClr val="tx2"/>
                </a:solidFill>
              </a:defRPr>
            </a:lvl3pPr>
            <a:lvl4pPr marL="0" indent="0">
              <a:buNone/>
              <a:defRPr sz="2000" b="1">
                <a:solidFill>
                  <a:schemeClr val="tx2"/>
                </a:solidFill>
              </a:defRPr>
            </a:lvl4pPr>
            <a:lvl5pPr marL="0" indent="0">
              <a:buNone/>
              <a:defRPr sz="2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9" name="Textplatzhalter 8">
            <a:extLst>
              <a:ext uri="{FF2B5EF4-FFF2-40B4-BE49-F238E27FC236}">
                <a16:creationId xmlns:a16="http://schemas.microsoft.com/office/drawing/2014/main" id="{BA9753EA-FBA9-4F10-A960-016C1040DB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7320488" y="1844824"/>
            <a:ext cx="4536550" cy="417646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DC5DC26-F8AE-4616-AE61-61A2FC6A64F5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811D0F04-C71D-449D-A913-2E6EC03412A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C4FC241A-1CA6-45F5-8F04-87F6A6A049E9}"/>
              </a:ext>
            </a:extLst>
          </p:cNvPr>
          <p:cNvGrpSpPr/>
          <p:nvPr userDrawn="1"/>
        </p:nvGrpSpPr>
        <p:grpSpPr bwMode="gray">
          <a:xfrm rot="10800000">
            <a:off x="7680175" y="6087015"/>
            <a:ext cx="4176464" cy="770983"/>
            <a:chOff x="266132" y="0"/>
            <a:chExt cx="5613810" cy="1036320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113DAB61-370C-4552-A9ED-7ECFEA01A251}"/>
                </a:ext>
              </a:extLst>
            </p:cNvPr>
            <p:cNvSpPr/>
            <p:nvPr/>
          </p:nvSpPr>
          <p:spPr bwMode="gray">
            <a:xfrm>
              <a:off x="266132" y="0"/>
              <a:ext cx="561381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26" name="Freihandform 23">
              <a:extLst>
                <a:ext uri="{FF2B5EF4-FFF2-40B4-BE49-F238E27FC236}">
                  <a16:creationId xmlns:a16="http://schemas.microsoft.com/office/drawing/2014/main" id="{B6F32F49-51DB-42BD-AD9A-7D90C42B8B58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21834716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BDD804C-F6BF-4159-8EF6-9DD51C7ADD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8272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0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859744E-6BFE-497C-82B4-FBBA7B3F2A5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13000"/>
              </a:lnSpc>
              <a:buFontTx/>
              <a:buNone/>
            </a:pPr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63D8B59-CDFF-47E1-BD35-8A47228695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48E52B-61A0-435C-AB12-EAE644826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57E136FE-A890-42C9-BE6E-A19CCE0D2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6000" y="1304417"/>
            <a:ext cx="9792000" cy="380104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buFont typeface="Arial" panose="020B0604020202020204" pitchFamily="34" charset="0"/>
              <a:buNone/>
              <a:defRPr sz="2600" b="0" spc="-2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buFont typeface="Arial" panose="020B0604020202020204" pitchFamily="34" charset="0"/>
              <a:buNone/>
              <a:defRPr sz="2800" b="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3pPr>
            <a:lvl4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4pPr>
            <a:lvl5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Untertitel durch Klicken bearbeiten (optional)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D55A091D-95BC-4116-B785-E1149E76292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B89F753-7E79-4A1B-8C97-620D42FBB5F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D466101E-AEDF-4985-B944-713785572A51}"/>
              </a:ext>
            </a:extLst>
          </p:cNvPr>
          <p:cNvGrpSpPr/>
          <p:nvPr userDrawn="1"/>
        </p:nvGrpSpPr>
        <p:grpSpPr bwMode="gray">
          <a:xfrm rot="10800000">
            <a:off x="7680175" y="6087015"/>
            <a:ext cx="4176464" cy="770983"/>
            <a:chOff x="266132" y="0"/>
            <a:chExt cx="5613810" cy="1036320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6279EA32-018A-4E54-A0FF-0AF5810E9770}"/>
                </a:ext>
              </a:extLst>
            </p:cNvPr>
            <p:cNvSpPr/>
            <p:nvPr/>
          </p:nvSpPr>
          <p:spPr bwMode="gray">
            <a:xfrm>
              <a:off x="266132" y="0"/>
              <a:ext cx="561381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12" name="Freihandform 23">
              <a:extLst>
                <a:ext uri="{FF2B5EF4-FFF2-40B4-BE49-F238E27FC236}">
                  <a16:creationId xmlns:a16="http://schemas.microsoft.com/office/drawing/2014/main" id="{D6E180C9-6304-4552-84B5-94FF2E93C9ED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2782260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BDD804C-F6BF-4159-8EF6-9DD51C7ADD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0508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2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BDD804C-F6BF-4159-8EF6-9DD51C7ADD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859744E-6BFE-497C-82B4-FBBA7B3F2A5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13000"/>
              </a:lnSpc>
              <a:buFontTx/>
              <a:buNone/>
            </a:pPr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112728F-2BAB-4DEE-8E7E-825B76FF921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05885D-BCE9-478A-8EAC-F5FB7B9F8FAB}"/>
              </a:ext>
            </a:extLst>
          </p:cNvPr>
          <p:cNvGrpSpPr/>
          <p:nvPr userDrawn="1"/>
        </p:nvGrpSpPr>
        <p:grpSpPr bwMode="gray">
          <a:xfrm rot="10800000">
            <a:off x="7680175" y="6087015"/>
            <a:ext cx="4176464" cy="770983"/>
            <a:chOff x="266132" y="0"/>
            <a:chExt cx="5613810" cy="103632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53A20D3C-66E1-4EEF-AC89-0A2027BA8D51}"/>
                </a:ext>
              </a:extLst>
            </p:cNvPr>
            <p:cNvSpPr/>
            <p:nvPr/>
          </p:nvSpPr>
          <p:spPr bwMode="gray">
            <a:xfrm>
              <a:off x="266132" y="0"/>
              <a:ext cx="561381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13" name="Freihandform 23">
              <a:extLst>
                <a:ext uri="{FF2B5EF4-FFF2-40B4-BE49-F238E27FC236}">
                  <a16:creationId xmlns:a16="http://schemas.microsoft.com/office/drawing/2014/main" id="{96B51AFE-122E-4644-BF77-65373A3121A9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9975B0C-DD54-446F-A551-E347FE8831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0839A2B-516F-4DCA-A845-CD0EB62215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7332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0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AB1FCAD8-367F-4098-ABF7-D5042D7F49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20" t="25435" r="39963" b="44178"/>
          <a:stretch/>
        </p:blipFill>
        <p:spPr bwMode="gray">
          <a:xfrm rot="10800000">
            <a:off x="-8778" y="-6858"/>
            <a:ext cx="12200778" cy="6862935"/>
          </a:xfrm>
          <a:prstGeom prst="rect">
            <a:avLst/>
          </a:prstGeom>
        </p:spPr>
      </p:pic>
      <p:sp>
        <p:nvSpPr>
          <p:cNvPr id="15" name="Freihandform 9">
            <a:extLst>
              <a:ext uri="{FF2B5EF4-FFF2-40B4-BE49-F238E27FC236}">
                <a16:creationId xmlns:a16="http://schemas.microsoft.com/office/drawing/2014/main" id="{8314385E-D0BB-4B3D-A6AB-D37E9F470EFF}"/>
              </a:ext>
            </a:extLst>
          </p:cNvPr>
          <p:cNvSpPr/>
          <p:nvPr userDrawn="1"/>
        </p:nvSpPr>
        <p:spPr bwMode="gray">
          <a:xfrm>
            <a:off x="8070994" y="3607950"/>
            <a:ext cx="4126524" cy="3265911"/>
          </a:xfrm>
          <a:custGeom>
            <a:avLst/>
            <a:gdLst>
              <a:gd name="connsiteX0" fmla="*/ 0 w 3094893"/>
              <a:gd name="connsiteY0" fmla="*/ 699247 h 2449433"/>
              <a:gd name="connsiteX1" fmla="*/ 3090755 w 3094893"/>
              <a:gd name="connsiteY1" fmla="*/ 0 h 2449433"/>
              <a:gd name="connsiteX2" fmla="*/ 3094893 w 3094893"/>
              <a:gd name="connsiteY2" fmla="*/ 2449433 h 2449433"/>
              <a:gd name="connsiteX3" fmla="*/ 397206 w 3094893"/>
              <a:gd name="connsiteY3" fmla="*/ 2445296 h 2449433"/>
              <a:gd name="connsiteX4" fmla="*/ 0 w 3094893"/>
              <a:gd name="connsiteY4" fmla="*/ 699247 h 2449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4893" h="2449433">
                <a:moveTo>
                  <a:pt x="0" y="699247"/>
                </a:moveTo>
                <a:lnTo>
                  <a:pt x="3090755" y="0"/>
                </a:lnTo>
                <a:cubicBezTo>
                  <a:pt x="3092134" y="816478"/>
                  <a:pt x="3093514" y="1632955"/>
                  <a:pt x="3094893" y="2449433"/>
                </a:cubicBezTo>
                <a:lnTo>
                  <a:pt x="397206" y="2445296"/>
                </a:lnTo>
                <a:lnTo>
                  <a:pt x="0" y="6992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4EFD84D-7620-4378-B33F-72E1F06AAE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0759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2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4EFD84D-7620-4378-B33F-72E1F06AA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6FBC020-F7BC-491F-A515-7633C9383B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31996BA-DEBA-4422-8751-889EF72798A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960000" y="1920000"/>
            <a:ext cx="7920000" cy="526298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AC5A5B-2679-4974-BA5D-19265FF288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0000" y="5079957"/>
            <a:ext cx="6431422" cy="307777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Kolpingsfamilie Beispielhaus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E94ABF0D-D15C-4EE3-B3EB-0D61FAD821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60000" y="5432738"/>
            <a:ext cx="6431422" cy="307777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T. Monat 20XX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51848211-9774-4D0C-9DA2-0F501977F5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960000" y="5785519"/>
            <a:ext cx="6431422" cy="307777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Name, Funktio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78A93654-10BB-4A8A-A13A-AE02708FB69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gray">
          <a:xfrm>
            <a:off x="9831968" y="5045190"/>
            <a:ext cx="1664632" cy="1084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5783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ku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811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4892E2D4-424C-46FF-AA47-98E912DB288C}"/>
              </a:ext>
            </a:extLst>
          </p:cNvPr>
          <p:cNvGrpSpPr/>
          <p:nvPr userDrawn="1"/>
        </p:nvGrpSpPr>
        <p:grpSpPr bwMode="gray">
          <a:xfrm>
            <a:off x="335360" y="0"/>
            <a:ext cx="7488000" cy="1381760"/>
            <a:chOff x="266132" y="0"/>
            <a:chExt cx="5616000" cy="1036320"/>
          </a:xfrm>
        </p:grpSpPr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B54A8EF0-E4B2-482B-A627-F406C09520E5}"/>
                </a:ext>
              </a:extLst>
            </p:cNvPr>
            <p:cNvSpPr/>
            <p:nvPr/>
          </p:nvSpPr>
          <p:spPr bwMode="gray">
            <a:xfrm>
              <a:off x="266132" y="0"/>
              <a:ext cx="561600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43" name="Freihandform 14">
              <a:extLst>
                <a:ext uri="{FF2B5EF4-FFF2-40B4-BE49-F238E27FC236}">
                  <a16:creationId xmlns:a16="http://schemas.microsoft.com/office/drawing/2014/main" id="{212C2CB4-145E-4C76-B87B-BAE8045E514A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A780392-7155-4E24-A2B0-BD0B8A6CD7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1844824"/>
            <a:ext cx="1152000" cy="1152000"/>
          </a:xfrm>
          <a:solidFill>
            <a:schemeClr val="bg2"/>
          </a:solidFill>
        </p:spPr>
        <p:txBody>
          <a:bodyPr lIns="234000" tIns="234000" rIns="234000" bIns="23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1" name="Textplatzhalter 82">
            <a:extLst>
              <a:ext uri="{FF2B5EF4-FFF2-40B4-BE49-F238E27FC236}">
                <a16:creationId xmlns:a16="http://schemas.microsoft.com/office/drawing/2014/main" id="{355D352E-0F17-44B7-9801-A06EA8AF73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559660" y="1916793"/>
            <a:ext cx="2592388" cy="1008063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2" name="Textplatzhalter 82">
            <a:extLst>
              <a:ext uri="{FF2B5EF4-FFF2-40B4-BE49-F238E27FC236}">
                <a16:creationId xmlns:a16="http://schemas.microsoft.com/office/drawing/2014/main" id="{C741FD73-0B03-48E7-BFA6-E91056C063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88221" y="1916113"/>
            <a:ext cx="828000" cy="1008063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  <a:endParaRPr lang="en-US" dirty="0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96CAA07C-8F3D-4D4F-A54A-253699F189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3357056"/>
            <a:ext cx="1152000" cy="1152000"/>
          </a:xfrm>
          <a:solidFill>
            <a:schemeClr val="bg2"/>
          </a:solidFill>
        </p:spPr>
        <p:txBody>
          <a:bodyPr lIns="234000" tIns="234000" rIns="234000" bIns="23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4" name="Textplatzhalter 82">
            <a:extLst>
              <a:ext uri="{FF2B5EF4-FFF2-40B4-BE49-F238E27FC236}">
                <a16:creationId xmlns:a16="http://schemas.microsoft.com/office/drawing/2014/main" id="{690A497F-335E-43F8-A506-EA45B054716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559660" y="3429025"/>
            <a:ext cx="2592388" cy="1008063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5" name="Textplatzhalter 82">
            <a:extLst>
              <a:ext uri="{FF2B5EF4-FFF2-40B4-BE49-F238E27FC236}">
                <a16:creationId xmlns:a16="http://schemas.microsoft.com/office/drawing/2014/main" id="{70E65B85-F83B-4686-A8A8-871933BFD2F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188221" y="3428345"/>
            <a:ext cx="828000" cy="1008063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  <a:endParaRPr lang="en-US" dirty="0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BE375428-E513-4390-A044-618F2C0BA69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5360" y="4869288"/>
            <a:ext cx="1152000" cy="1152000"/>
          </a:xfrm>
          <a:solidFill>
            <a:schemeClr val="bg2"/>
          </a:solidFill>
        </p:spPr>
        <p:txBody>
          <a:bodyPr lIns="234000" tIns="234000" rIns="234000" bIns="23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7" name="Textplatzhalter 82">
            <a:extLst>
              <a:ext uri="{FF2B5EF4-FFF2-40B4-BE49-F238E27FC236}">
                <a16:creationId xmlns:a16="http://schemas.microsoft.com/office/drawing/2014/main" id="{3B7614FC-7A12-4E9F-B19A-9E05262270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559660" y="4941257"/>
            <a:ext cx="2592388" cy="1008063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8" name="Textplatzhalter 82">
            <a:extLst>
              <a:ext uri="{FF2B5EF4-FFF2-40B4-BE49-F238E27FC236}">
                <a16:creationId xmlns:a16="http://schemas.microsoft.com/office/drawing/2014/main" id="{F12983BC-03BB-4D51-9CE6-BE78CB9BA7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188221" y="4940577"/>
            <a:ext cx="828000" cy="1008063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  <a:endParaRPr lang="en-US" dirty="0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B3697231-2F72-47FB-8FFB-D90B13C1567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807968" y="1844824"/>
            <a:ext cx="1152000" cy="1152000"/>
          </a:xfrm>
          <a:solidFill>
            <a:schemeClr val="bg2"/>
          </a:solidFill>
        </p:spPr>
        <p:txBody>
          <a:bodyPr lIns="234000" tIns="234000" rIns="234000" bIns="23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0" name="Textplatzhalter 82">
            <a:extLst>
              <a:ext uri="{FF2B5EF4-FFF2-40B4-BE49-F238E27FC236}">
                <a16:creationId xmlns:a16="http://schemas.microsoft.com/office/drawing/2014/main" id="{8D55C8D6-9307-4035-8623-D5AAE6F271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032268" y="1916793"/>
            <a:ext cx="2592388" cy="1008063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1" name="Textplatzhalter 82">
            <a:extLst>
              <a:ext uri="{FF2B5EF4-FFF2-40B4-BE49-F238E27FC236}">
                <a16:creationId xmlns:a16="http://schemas.microsoft.com/office/drawing/2014/main" id="{24F85DC3-3771-478F-9FFF-567B346706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660829" y="1916113"/>
            <a:ext cx="828000" cy="1008063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  <a:endParaRPr lang="en-US" dirty="0"/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C2D1D366-C7E5-458D-9085-F1508F7CB1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807968" y="3357056"/>
            <a:ext cx="1152000" cy="1152000"/>
          </a:xfrm>
          <a:solidFill>
            <a:schemeClr val="bg2"/>
          </a:solidFill>
        </p:spPr>
        <p:txBody>
          <a:bodyPr lIns="234000" tIns="234000" rIns="234000" bIns="23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3" name="Textplatzhalter 82">
            <a:extLst>
              <a:ext uri="{FF2B5EF4-FFF2-40B4-BE49-F238E27FC236}">
                <a16:creationId xmlns:a16="http://schemas.microsoft.com/office/drawing/2014/main" id="{9B0B38D8-684B-4F9F-8601-E99CBB4BC51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7032268" y="3429025"/>
            <a:ext cx="2592388" cy="1008063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4" name="Textplatzhalter 82">
            <a:extLst>
              <a:ext uri="{FF2B5EF4-FFF2-40B4-BE49-F238E27FC236}">
                <a16:creationId xmlns:a16="http://schemas.microsoft.com/office/drawing/2014/main" id="{519FAE2D-3EBC-4985-B54F-A4ECDF46B2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9660829" y="3428345"/>
            <a:ext cx="828000" cy="1008063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  <a:endParaRPr lang="en-US" dirty="0"/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73D3040-BECE-463A-BEF0-10C7D07DA8B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807968" y="4869288"/>
            <a:ext cx="1152000" cy="1152000"/>
          </a:xfrm>
          <a:solidFill>
            <a:schemeClr val="bg2"/>
          </a:solidFill>
        </p:spPr>
        <p:txBody>
          <a:bodyPr lIns="234000" tIns="234000" rIns="234000" bIns="23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6" name="Textplatzhalter 82">
            <a:extLst>
              <a:ext uri="{FF2B5EF4-FFF2-40B4-BE49-F238E27FC236}">
                <a16:creationId xmlns:a16="http://schemas.microsoft.com/office/drawing/2014/main" id="{2B2F57F7-8321-42D8-9F4D-2DBE927B8EC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7032268" y="4941257"/>
            <a:ext cx="2592388" cy="1008063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7" name="Textplatzhalter 82">
            <a:extLst>
              <a:ext uri="{FF2B5EF4-FFF2-40B4-BE49-F238E27FC236}">
                <a16:creationId xmlns:a16="http://schemas.microsoft.com/office/drawing/2014/main" id="{B195D8C4-F55F-484B-949F-A4EF2508815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9660829" y="4940577"/>
            <a:ext cx="828000" cy="1008063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  <a:endParaRPr lang="en-US" dirty="0"/>
          </a:p>
        </p:txBody>
      </p:sp>
      <p:sp>
        <p:nvSpPr>
          <p:cNvPr id="28" name="Textplatzhalter 101">
            <a:extLst>
              <a:ext uri="{FF2B5EF4-FFF2-40B4-BE49-F238E27FC236}">
                <a16:creationId xmlns:a16="http://schemas.microsoft.com/office/drawing/2014/main" id="{DA3F42E5-9205-4E41-A38E-EFAEBBE8C99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559660" y="1844824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29" name="Textplatzhalter 102">
            <a:extLst>
              <a:ext uri="{FF2B5EF4-FFF2-40B4-BE49-F238E27FC236}">
                <a16:creationId xmlns:a16="http://schemas.microsoft.com/office/drawing/2014/main" id="{4520063F-A82F-4687-BA27-BD1B221DAE8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559660" y="2989624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30" name="Textplatzhalter 103">
            <a:extLst>
              <a:ext uri="{FF2B5EF4-FFF2-40B4-BE49-F238E27FC236}">
                <a16:creationId xmlns:a16="http://schemas.microsoft.com/office/drawing/2014/main" id="{D473F87A-3662-4169-809D-5517BDB559C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1559660" y="3357056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31" name="Textplatzhalter 104">
            <a:extLst>
              <a:ext uri="{FF2B5EF4-FFF2-40B4-BE49-F238E27FC236}">
                <a16:creationId xmlns:a16="http://schemas.microsoft.com/office/drawing/2014/main" id="{6ECFE2DB-08F7-44C0-8EB8-A8EDE400C33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1559660" y="4501856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32" name="Textplatzhalter 105">
            <a:extLst>
              <a:ext uri="{FF2B5EF4-FFF2-40B4-BE49-F238E27FC236}">
                <a16:creationId xmlns:a16="http://schemas.microsoft.com/office/drawing/2014/main" id="{3AE0099D-F87A-4105-B947-076B5F89D3B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559660" y="4869288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33" name="Textplatzhalter 106">
            <a:extLst>
              <a:ext uri="{FF2B5EF4-FFF2-40B4-BE49-F238E27FC236}">
                <a16:creationId xmlns:a16="http://schemas.microsoft.com/office/drawing/2014/main" id="{D6A890EE-5BC0-4820-9F88-2FD09FEAB4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559660" y="6014088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34" name="Textplatzhalter 107">
            <a:extLst>
              <a:ext uri="{FF2B5EF4-FFF2-40B4-BE49-F238E27FC236}">
                <a16:creationId xmlns:a16="http://schemas.microsoft.com/office/drawing/2014/main" id="{E99079FE-594C-4F6A-8B57-149DA289A63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031927" y="1844824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35" name="Textplatzhalter 108">
            <a:extLst>
              <a:ext uri="{FF2B5EF4-FFF2-40B4-BE49-F238E27FC236}">
                <a16:creationId xmlns:a16="http://schemas.microsoft.com/office/drawing/2014/main" id="{EFF86D36-C5BE-4673-A8A6-7D0D947923C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7031927" y="2989624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36" name="Textplatzhalter 109">
            <a:extLst>
              <a:ext uri="{FF2B5EF4-FFF2-40B4-BE49-F238E27FC236}">
                <a16:creationId xmlns:a16="http://schemas.microsoft.com/office/drawing/2014/main" id="{BF0FA697-8D76-468D-A406-096BAFCCDC3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7031927" y="3357056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37" name="Textplatzhalter 110">
            <a:extLst>
              <a:ext uri="{FF2B5EF4-FFF2-40B4-BE49-F238E27FC236}">
                <a16:creationId xmlns:a16="http://schemas.microsoft.com/office/drawing/2014/main" id="{E0EBB817-D25B-4AA0-AD29-916EC91E5B9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7031927" y="4501856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38" name="Textplatzhalter 111">
            <a:extLst>
              <a:ext uri="{FF2B5EF4-FFF2-40B4-BE49-F238E27FC236}">
                <a16:creationId xmlns:a16="http://schemas.microsoft.com/office/drawing/2014/main" id="{4DFA1A67-EEBD-4128-8393-0763099480E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7031927" y="4869288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39" name="Textplatzhalter 112">
            <a:extLst>
              <a:ext uri="{FF2B5EF4-FFF2-40B4-BE49-F238E27FC236}">
                <a16:creationId xmlns:a16="http://schemas.microsoft.com/office/drawing/2014/main" id="{9686D589-B98E-445F-9B3E-78ED46059F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7031927" y="6014088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874B01-A1CF-4388-A618-23E47E127A0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4746" y="123360"/>
            <a:ext cx="6336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pic>
        <p:nvPicPr>
          <p:cNvPr id="49" name="Grafik 48">
            <a:extLst>
              <a:ext uri="{FF2B5EF4-FFF2-40B4-BE49-F238E27FC236}">
                <a16:creationId xmlns:a16="http://schemas.microsoft.com/office/drawing/2014/main" id="{FDA7D9E7-3BE0-431D-92C6-71EB1CA09E1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1187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a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4513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93" name="Gruppieren 92">
            <a:extLst>
              <a:ext uri="{FF2B5EF4-FFF2-40B4-BE49-F238E27FC236}">
                <a16:creationId xmlns:a16="http://schemas.microsoft.com/office/drawing/2014/main" id="{42CB9BE9-C9FE-4A80-B1C6-73277BFCC9F3}"/>
              </a:ext>
            </a:extLst>
          </p:cNvPr>
          <p:cNvGrpSpPr/>
          <p:nvPr userDrawn="1"/>
        </p:nvGrpSpPr>
        <p:grpSpPr bwMode="gray">
          <a:xfrm>
            <a:off x="335360" y="0"/>
            <a:ext cx="7488000" cy="1381760"/>
            <a:chOff x="266132" y="0"/>
            <a:chExt cx="5616000" cy="1036320"/>
          </a:xfrm>
        </p:grpSpPr>
        <p:sp>
          <p:nvSpPr>
            <p:cNvPr id="94" name="Rechteck 93">
              <a:extLst>
                <a:ext uri="{FF2B5EF4-FFF2-40B4-BE49-F238E27FC236}">
                  <a16:creationId xmlns:a16="http://schemas.microsoft.com/office/drawing/2014/main" id="{B5FEF24F-B24B-4A6D-9F1F-83CB1F736E2A}"/>
                </a:ext>
              </a:extLst>
            </p:cNvPr>
            <p:cNvSpPr/>
            <p:nvPr/>
          </p:nvSpPr>
          <p:spPr bwMode="gray">
            <a:xfrm>
              <a:off x="266132" y="0"/>
              <a:ext cx="561600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95" name="Freihandform 14">
              <a:extLst>
                <a:ext uri="{FF2B5EF4-FFF2-40B4-BE49-F238E27FC236}">
                  <a16:creationId xmlns:a16="http://schemas.microsoft.com/office/drawing/2014/main" id="{21BA2277-2639-4B1A-B2A6-21665B16606F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0" name="Textplatzhalter 9">
            <a:extLst>
              <a:ext uri="{FF2B5EF4-FFF2-40B4-BE49-F238E27FC236}">
                <a16:creationId xmlns:a16="http://schemas.microsoft.com/office/drawing/2014/main" id="{35B9F9B3-EAF1-4065-951D-E1DB65D530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1844824"/>
            <a:ext cx="720000" cy="720000"/>
          </a:xfrm>
          <a:solidFill>
            <a:schemeClr val="bg2"/>
          </a:solidFill>
        </p:spPr>
        <p:txBody>
          <a:bodyPr lIns="108000" tIns="54000" rIns="108000" bIns="5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41" name="Textplatzhalter 82">
            <a:extLst>
              <a:ext uri="{FF2B5EF4-FFF2-40B4-BE49-F238E27FC236}">
                <a16:creationId xmlns:a16="http://schemas.microsoft.com/office/drawing/2014/main" id="{78499317-3DC9-4106-BC3E-5EEB9B4FE2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127399" y="1932344"/>
            <a:ext cx="3024385" cy="544960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42" name="Textplatzhalter 82">
            <a:extLst>
              <a:ext uri="{FF2B5EF4-FFF2-40B4-BE49-F238E27FC236}">
                <a16:creationId xmlns:a16="http://schemas.microsoft.com/office/drawing/2014/main" id="{77C71210-CEC9-40C0-99EB-48397CDEF5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88221" y="1932344"/>
            <a:ext cx="828000" cy="544960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CCEBA3E6-4C9E-4240-8A5E-1B2CB6B52C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2708940"/>
            <a:ext cx="720000" cy="720000"/>
          </a:xfrm>
          <a:solidFill>
            <a:schemeClr val="bg2"/>
          </a:solidFill>
        </p:spPr>
        <p:txBody>
          <a:bodyPr lIns="108000" tIns="54000" rIns="108000" bIns="5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44" name="Textplatzhalter 82">
            <a:extLst>
              <a:ext uri="{FF2B5EF4-FFF2-40B4-BE49-F238E27FC236}">
                <a16:creationId xmlns:a16="http://schemas.microsoft.com/office/drawing/2014/main" id="{F4F3593F-C1B5-41C3-ADAF-9262A7ACD0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127399" y="2796460"/>
            <a:ext cx="3024385" cy="544960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45" name="Textplatzhalter 82">
            <a:extLst>
              <a:ext uri="{FF2B5EF4-FFF2-40B4-BE49-F238E27FC236}">
                <a16:creationId xmlns:a16="http://schemas.microsoft.com/office/drawing/2014/main" id="{86C50D98-D132-4795-95AA-E8C9CD110F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188221" y="2796460"/>
            <a:ext cx="828000" cy="544960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</a:p>
        </p:txBody>
      </p:sp>
      <p:sp>
        <p:nvSpPr>
          <p:cNvPr id="46" name="Textplatzhalter 9">
            <a:extLst>
              <a:ext uri="{FF2B5EF4-FFF2-40B4-BE49-F238E27FC236}">
                <a16:creationId xmlns:a16="http://schemas.microsoft.com/office/drawing/2014/main" id="{E0DBF607-F103-492B-B13D-8A0DB705BB1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5360" y="3573056"/>
            <a:ext cx="720000" cy="720000"/>
          </a:xfrm>
          <a:solidFill>
            <a:schemeClr val="bg2"/>
          </a:solidFill>
        </p:spPr>
        <p:txBody>
          <a:bodyPr lIns="108000" tIns="54000" rIns="108000" bIns="5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47" name="Textplatzhalter 82">
            <a:extLst>
              <a:ext uri="{FF2B5EF4-FFF2-40B4-BE49-F238E27FC236}">
                <a16:creationId xmlns:a16="http://schemas.microsoft.com/office/drawing/2014/main" id="{C50F5549-3248-4561-A4FA-BC6593D3C9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127399" y="3660576"/>
            <a:ext cx="3024385" cy="544960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48" name="Textplatzhalter 82">
            <a:extLst>
              <a:ext uri="{FF2B5EF4-FFF2-40B4-BE49-F238E27FC236}">
                <a16:creationId xmlns:a16="http://schemas.microsoft.com/office/drawing/2014/main" id="{8CF9FACB-CABF-491F-A442-FBE88AAD1C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188221" y="3660576"/>
            <a:ext cx="828000" cy="544960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</a:p>
        </p:txBody>
      </p:sp>
      <p:sp>
        <p:nvSpPr>
          <p:cNvPr id="49" name="Textplatzhalter 9">
            <a:extLst>
              <a:ext uri="{FF2B5EF4-FFF2-40B4-BE49-F238E27FC236}">
                <a16:creationId xmlns:a16="http://schemas.microsoft.com/office/drawing/2014/main" id="{5CDB1A70-6243-428A-BDDA-2F7C4473BDE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35360" y="4437172"/>
            <a:ext cx="720000" cy="720000"/>
          </a:xfrm>
          <a:solidFill>
            <a:schemeClr val="bg2"/>
          </a:solidFill>
        </p:spPr>
        <p:txBody>
          <a:bodyPr lIns="108000" tIns="54000" rIns="108000" bIns="5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50" name="Textplatzhalter 82">
            <a:extLst>
              <a:ext uri="{FF2B5EF4-FFF2-40B4-BE49-F238E27FC236}">
                <a16:creationId xmlns:a16="http://schemas.microsoft.com/office/drawing/2014/main" id="{1873D3BB-1625-4701-BD6F-96E5C7911C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127399" y="4524692"/>
            <a:ext cx="3024385" cy="544960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51" name="Textplatzhalter 82">
            <a:extLst>
              <a:ext uri="{FF2B5EF4-FFF2-40B4-BE49-F238E27FC236}">
                <a16:creationId xmlns:a16="http://schemas.microsoft.com/office/drawing/2014/main" id="{EC0AB892-5789-42BD-93AE-5781A6E104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188221" y="4524692"/>
            <a:ext cx="828000" cy="544960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</a:p>
        </p:txBody>
      </p:sp>
      <p:sp>
        <p:nvSpPr>
          <p:cNvPr id="52" name="Textplatzhalter 9">
            <a:extLst>
              <a:ext uri="{FF2B5EF4-FFF2-40B4-BE49-F238E27FC236}">
                <a16:creationId xmlns:a16="http://schemas.microsoft.com/office/drawing/2014/main" id="{B4A1724F-0F67-4DBC-A9E1-3FF6CCF199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35360" y="5301288"/>
            <a:ext cx="720000" cy="720000"/>
          </a:xfrm>
          <a:solidFill>
            <a:schemeClr val="bg2"/>
          </a:solidFill>
        </p:spPr>
        <p:txBody>
          <a:bodyPr lIns="108000" tIns="54000" rIns="108000" bIns="5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53" name="Textplatzhalter 82">
            <a:extLst>
              <a:ext uri="{FF2B5EF4-FFF2-40B4-BE49-F238E27FC236}">
                <a16:creationId xmlns:a16="http://schemas.microsoft.com/office/drawing/2014/main" id="{E1769776-05F5-4E93-81F0-F8AEE6E398D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131684" y="5388808"/>
            <a:ext cx="3024385" cy="544960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54" name="Textplatzhalter 82">
            <a:extLst>
              <a:ext uri="{FF2B5EF4-FFF2-40B4-BE49-F238E27FC236}">
                <a16:creationId xmlns:a16="http://schemas.microsoft.com/office/drawing/2014/main" id="{3938A0AA-49D7-4B6E-A830-6D6D4D4B7F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192506" y="5388808"/>
            <a:ext cx="828000" cy="544960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</a:p>
        </p:txBody>
      </p:sp>
      <p:sp>
        <p:nvSpPr>
          <p:cNvPr id="55" name="Textplatzhalter 9">
            <a:extLst>
              <a:ext uri="{FF2B5EF4-FFF2-40B4-BE49-F238E27FC236}">
                <a16:creationId xmlns:a16="http://schemas.microsoft.com/office/drawing/2014/main" id="{A2BF05D6-BA8C-4D2D-9EF1-E970F0CE10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807968" y="1844824"/>
            <a:ext cx="720000" cy="720000"/>
          </a:xfrm>
          <a:solidFill>
            <a:schemeClr val="bg2"/>
          </a:solidFill>
        </p:spPr>
        <p:txBody>
          <a:bodyPr lIns="108000" tIns="54000" rIns="108000" bIns="5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56" name="Textplatzhalter 82">
            <a:extLst>
              <a:ext uri="{FF2B5EF4-FFF2-40B4-BE49-F238E27FC236}">
                <a16:creationId xmlns:a16="http://schemas.microsoft.com/office/drawing/2014/main" id="{28A142D5-E9F3-4493-AFC5-23987FAE862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00007" y="1916113"/>
            <a:ext cx="3024385" cy="544960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57" name="Textplatzhalter 82">
            <a:extLst>
              <a:ext uri="{FF2B5EF4-FFF2-40B4-BE49-F238E27FC236}">
                <a16:creationId xmlns:a16="http://schemas.microsoft.com/office/drawing/2014/main" id="{042DFD10-0605-4E24-87FE-61D7E2C6C23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9660829" y="1915433"/>
            <a:ext cx="828000" cy="544960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</a:p>
        </p:txBody>
      </p:sp>
      <p:sp>
        <p:nvSpPr>
          <p:cNvPr id="58" name="Textplatzhalter 9">
            <a:extLst>
              <a:ext uri="{FF2B5EF4-FFF2-40B4-BE49-F238E27FC236}">
                <a16:creationId xmlns:a16="http://schemas.microsoft.com/office/drawing/2014/main" id="{EDB533FB-2886-4FA6-B851-5B5822D2C4E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5807968" y="2708940"/>
            <a:ext cx="720000" cy="720000"/>
          </a:xfrm>
          <a:solidFill>
            <a:schemeClr val="bg2"/>
          </a:solidFill>
        </p:spPr>
        <p:txBody>
          <a:bodyPr lIns="108000" tIns="54000" rIns="108000" bIns="5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59" name="Textplatzhalter 82">
            <a:extLst>
              <a:ext uri="{FF2B5EF4-FFF2-40B4-BE49-F238E27FC236}">
                <a16:creationId xmlns:a16="http://schemas.microsoft.com/office/drawing/2014/main" id="{39CEBBBD-1E9F-403B-A544-6DBB42B4C01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600007" y="2780229"/>
            <a:ext cx="3024385" cy="544960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60" name="Textplatzhalter 82">
            <a:extLst>
              <a:ext uri="{FF2B5EF4-FFF2-40B4-BE49-F238E27FC236}">
                <a16:creationId xmlns:a16="http://schemas.microsoft.com/office/drawing/2014/main" id="{61FB4CFF-360D-4D29-9130-FAA2340BD8C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9660829" y="2779549"/>
            <a:ext cx="828000" cy="544960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</a:p>
        </p:txBody>
      </p:sp>
      <p:sp>
        <p:nvSpPr>
          <p:cNvPr id="61" name="Textplatzhalter 9">
            <a:extLst>
              <a:ext uri="{FF2B5EF4-FFF2-40B4-BE49-F238E27FC236}">
                <a16:creationId xmlns:a16="http://schemas.microsoft.com/office/drawing/2014/main" id="{3806ABE0-6BE5-470B-A2EE-B67F4511A92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5807968" y="3573056"/>
            <a:ext cx="720000" cy="720000"/>
          </a:xfrm>
          <a:solidFill>
            <a:schemeClr val="bg2"/>
          </a:solidFill>
        </p:spPr>
        <p:txBody>
          <a:bodyPr lIns="108000" tIns="54000" rIns="108000" bIns="5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62" name="Textplatzhalter 82">
            <a:extLst>
              <a:ext uri="{FF2B5EF4-FFF2-40B4-BE49-F238E27FC236}">
                <a16:creationId xmlns:a16="http://schemas.microsoft.com/office/drawing/2014/main" id="{4D049153-007D-4BBB-85E4-CBE5C74BF5D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600007" y="3644345"/>
            <a:ext cx="3024385" cy="544960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63" name="Textplatzhalter 82">
            <a:extLst>
              <a:ext uri="{FF2B5EF4-FFF2-40B4-BE49-F238E27FC236}">
                <a16:creationId xmlns:a16="http://schemas.microsoft.com/office/drawing/2014/main" id="{3DDAEB06-5D2D-4ABC-BD7F-1EE945CB77C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9660829" y="3643665"/>
            <a:ext cx="828000" cy="544960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</a:p>
        </p:txBody>
      </p:sp>
      <p:sp>
        <p:nvSpPr>
          <p:cNvPr id="64" name="Textplatzhalter 9">
            <a:extLst>
              <a:ext uri="{FF2B5EF4-FFF2-40B4-BE49-F238E27FC236}">
                <a16:creationId xmlns:a16="http://schemas.microsoft.com/office/drawing/2014/main" id="{ABA3EFC1-0BAF-4F8D-94D8-CEF902A9ECC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5807968" y="4437172"/>
            <a:ext cx="720000" cy="720000"/>
          </a:xfrm>
          <a:solidFill>
            <a:schemeClr val="bg2"/>
          </a:solidFill>
        </p:spPr>
        <p:txBody>
          <a:bodyPr lIns="108000" tIns="54000" rIns="108000" bIns="5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65" name="Textplatzhalter 82">
            <a:extLst>
              <a:ext uri="{FF2B5EF4-FFF2-40B4-BE49-F238E27FC236}">
                <a16:creationId xmlns:a16="http://schemas.microsoft.com/office/drawing/2014/main" id="{600C93E2-0734-43BF-882E-31D7F2727B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6600007" y="4508461"/>
            <a:ext cx="3024385" cy="544960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66" name="Textplatzhalter 82">
            <a:extLst>
              <a:ext uri="{FF2B5EF4-FFF2-40B4-BE49-F238E27FC236}">
                <a16:creationId xmlns:a16="http://schemas.microsoft.com/office/drawing/2014/main" id="{5103B6A0-5CDB-497B-AD6A-3A8C6E7A341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9660829" y="4507781"/>
            <a:ext cx="828000" cy="544960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</a:p>
        </p:txBody>
      </p:sp>
      <p:sp>
        <p:nvSpPr>
          <p:cNvPr id="67" name="Textplatzhalter 9">
            <a:extLst>
              <a:ext uri="{FF2B5EF4-FFF2-40B4-BE49-F238E27FC236}">
                <a16:creationId xmlns:a16="http://schemas.microsoft.com/office/drawing/2014/main" id="{29937C41-162E-4BB3-8A72-061E7EA32BD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5807968" y="5301288"/>
            <a:ext cx="720000" cy="720000"/>
          </a:xfrm>
          <a:solidFill>
            <a:schemeClr val="bg2"/>
          </a:solidFill>
        </p:spPr>
        <p:txBody>
          <a:bodyPr lIns="108000" tIns="54000" rIns="108000" bIns="5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68" name="Textplatzhalter 82">
            <a:extLst>
              <a:ext uri="{FF2B5EF4-FFF2-40B4-BE49-F238E27FC236}">
                <a16:creationId xmlns:a16="http://schemas.microsoft.com/office/drawing/2014/main" id="{B19EB045-9726-4A2B-A216-CAF1A9990DC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600007" y="5372577"/>
            <a:ext cx="3024385" cy="544960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69" name="Textplatzhalter 82">
            <a:extLst>
              <a:ext uri="{FF2B5EF4-FFF2-40B4-BE49-F238E27FC236}">
                <a16:creationId xmlns:a16="http://schemas.microsoft.com/office/drawing/2014/main" id="{CBA5B8ED-8F6A-4296-AFB1-D73FC2C68F4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9660829" y="5371897"/>
            <a:ext cx="828000" cy="544960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</a:p>
        </p:txBody>
      </p:sp>
      <p:sp>
        <p:nvSpPr>
          <p:cNvPr id="70" name="Textplatzhalter 51">
            <a:extLst>
              <a:ext uri="{FF2B5EF4-FFF2-40B4-BE49-F238E27FC236}">
                <a16:creationId xmlns:a16="http://schemas.microsoft.com/office/drawing/2014/main" id="{772CDC26-C99C-46D9-91B6-CA61748E382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1127447" y="1844824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71" name="Textplatzhalter 52">
            <a:extLst>
              <a:ext uri="{FF2B5EF4-FFF2-40B4-BE49-F238E27FC236}">
                <a16:creationId xmlns:a16="http://schemas.microsoft.com/office/drawing/2014/main" id="{AFF02405-5C8C-46B4-A573-2429B769D7C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127447" y="2557624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72" name="Textplatzhalter 53">
            <a:extLst>
              <a:ext uri="{FF2B5EF4-FFF2-40B4-BE49-F238E27FC236}">
                <a16:creationId xmlns:a16="http://schemas.microsoft.com/office/drawing/2014/main" id="{F22DA2E3-8053-437C-A653-9E97D3CC11A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127447" y="2708940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73" name="Textplatzhalter 54">
            <a:extLst>
              <a:ext uri="{FF2B5EF4-FFF2-40B4-BE49-F238E27FC236}">
                <a16:creationId xmlns:a16="http://schemas.microsoft.com/office/drawing/2014/main" id="{6912DF41-71B5-4C20-9BCD-347F2A78890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127447" y="3421740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74" name="Textplatzhalter 55">
            <a:extLst>
              <a:ext uri="{FF2B5EF4-FFF2-40B4-BE49-F238E27FC236}">
                <a16:creationId xmlns:a16="http://schemas.microsoft.com/office/drawing/2014/main" id="{8446AF06-29B5-4A05-8D06-FC21362B1CD8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1127447" y="3573056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75" name="Textplatzhalter 56">
            <a:extLst>
              <a:ext uri="{FF2B5EF4-FFF2-40B4-BE49-F238E27FC236}">
                <a16:creationId xmlns:a16="http://schemas.microsoft.com/office/drawing/2014/main" id="{0D772C00-2C31-4D75-82C0-34499F17C87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1127447" y="4285856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76" name="Textplatzhalter 57">
            <a:extLst>
              <a:ext uri="{FF2B5EF4-FFF2-40B4-BE49-F238E27FC236}">
                <a16:creationId xmlns:a16="http://schemas.microsoft.com/office/drawing/2014/main" id="{38365EE8-1999-47BD-AC5B-5F3A1F16AB8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1127447" y="4437172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77" name="Textplatzhalter 58">
            <a:extLst>
              <a:ext uri="{FF2B5EF4-FFF2-40B4-BE49-F238E27FC236}">
                <a16:creationId xmlns:a16="http://schemas.microsoft.com/office/drawing/2014/main" id="{B430C041-E697-45CD-ACC6-4ED78367530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27447" y="5149972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78" name="Textplatzhalter 59">
            <a:extLst>
              <a:ext uri="{FF2B5EF4-FFF2-40B4-BE49-F238E27FC236}">
                <a16:creationId xmlns:a16="http://schemas.microsoft.com/office/drawing/2014/main" id="{3C916007-D930-4A85-AEAC-7D292F7BFA4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27447" y="5301288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79" name="Textplatzhalter 60">
            <a:extLst>
              <a:ext uri="{FF2B5EF4-FFF2-40B4-BE49-F238E27FC236}">
                <a16:creationId xmlns:a16="http://schemas.microsoft.com/office/drawing/2014/main" id="{0AC4DC9D-BEB6-414F-8DCC-47FCE1ECE8C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27447" y="6014088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80" name="Textplatzhalter 61">
            <a:extLst>
              <a:ext uri="{FF2B5EF4-FFF2-40B4-BE49-F238E27FC236}">
                <a16:creationId xmlns:a16="http://schemas.microsoft.com/office/drawing/2014/main" id="{497AFD84-A10C-4F99-A83F-1DEE6AFC788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6600488" y="1844824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81" name="Textplatzhalter 62">
            <a:extLst>
              <a:ext uri="{FF2B5EF4-FFF2-40B4-BE49-F238E27FC236}">
                <a16:creationId xmlns:a16="http://schemas.microsoft.com/office/drawing/2014/main" id="{5FE636DF-8C0E-48B9-9F23-4656B9A1D41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6600488" y="2557624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82" name="Textplatzhalter 63">
            <a:extLst>
              <a:ext uri="{FF2B5EF4-FFF2-40B4-BE49-F238E27FC236}">
                <a16:creationId xmlns:a16="http://schemas.microsoft.com/office/drawing/2014/main" id="{E751BDC7-A011-4CDB-AEE5-559753A8FA8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600488" y="2708940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83" name="Textplatzhalter 64">
            <a:extLst>
              <a:ext uri="{FF2B5EF4-FFF2-40B4-BE49-F238E27FC236}">
                <a16:creationId xmlns:a16="http://schemas.microsoft.com/office/drawing/2014/main" id="{658B2CAC-C469-4949-85A5-5D52F10ECDC3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6600488" y="3421740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84" name="Textplatzhalter 65">
            <a:extLst>
              <a:ext uri="{FF2B5EF4-FFF2-40B4-BE49-F238E27FC236}">
                <a16:creationId xmlns:a16="http://schemas.microsoft.com/office/drawing/2014/main" id="{A892D383-C1C5-4A23-832D-EDDD07920D8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6600488" y="3573056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85" name="Textplatzhalter 66">
            <a:extLst>
              <a:ext uri="{FF2B5EF4-FFF2-40B4-BE49-F238E27FC236}">
                <a16:creationId xmlns:a16="http://schemas.microsoft.com/office/drawing/2014/main" id="{DA6F531F-8FF8-452F-B3DE-ED6B9FC3556F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6600488" y="4285856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86" name="Textplatzhalter 67">
            <a:extLst>
              <a:ext uri="{FF2B5EF4-FFF2-40B4-BE49-F238E27FC236}">
                <a16:creationId xmlns:a16="http://schemas.microsoft.com/office/drawing/2014/main" id="{405C3856-87DE-4212-98BC-701A81A488D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6600488" y="4437172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87" name="Textplatzhalter 68">
            <a:extLst>
              <a:ext uri="{FF2B5EF4-FFF2-40B4-BE49-F238E27FC236}">
                <a16:creationId xmlns:a16="http://schemas.microsoft.com/office/drawing/2014/main" id="{52A9B99C-A559-4665-9CA4-72C873B432A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6600488" y="5149972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88" name="Textplatzhalter 69">
            <a:extLst>
              <a:ext uri="{FF2B5EF4-FFF2-40B4-BE49-F238E27FC236}">
                <a16:creationId xmlns:a16="http://schemas.microsoft.com/office/drawing/2014/main" id="{5F050D35-FDE4-4B8B-9426-7E10E5C7C74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 bwMode="gray">
          <a:xfrm>
            <a:off x="6600488" y="5301288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89" name="Textplatzhalter 70">
            <a:extLst>
              <a:ext uri="{FF2B5EF4-FFF2-40B4-BE49-F238E27FC236}">
                <a16:creationId xmlns:a16="http://schemas.microsoft.com/office/drawing/2014/main" id="{663B3819-7EF4-408D-8E49-7308DFD4583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6600488" y="6014088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874B01-A1CF-4388-A618-23E47E127A0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4746" y="123360"/>
            <a:ext cx="6336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44764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660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B24506A3-F408-4E13-84C3-6AE9DA606E1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6" t="38354" r="54668" b="31258"/>
          <a:stretch/>
        </p:blipFill>
        <p:spPr bwMode="gray">
          <a:xfrm rot="10800000">
            <a:off x="-8" y="0"/>
            <a:ext cx="12206519" cy="6858000"/>
          </a:xfrm>
          <a:prstGeom prst="rect">
            <a:avLst/>
          </a:prstGeom>
        </p:spPr>
      </p:pic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D33A6B35-9347-4486-B948-3D5F21A29274}"/>
              </a:ext>
            </a:extLst>
          </p:cNvPr>
          <p:cNvSpPr/>
          <p:nvPr userDrawn="1"/>
        </p:nvSpPr>
        <p:spPr bwMode="gray">
          <a:xfrm>
            <a:off x="5868279" y="0"/>
            <a:ext cx="6323721" cy="6858000"/>
          </a:xfrm>
          <a:custGeom>
            <a:avLst/>
            <a:gdLst>
              <a:gd name="connsiteX0" fmla="*/ 0 w 6323721"/>
              <a:gd name="connsiteY0" fmla="*/ 0 h 6858000"/>
              <a:gd name="connsiteX1" fmla="*/ 6323721 w 6323721"/>
              <a:gd name="connsiteY1" fmla="*/ 0 h 6858000"/>
              <a:gd name="connsiteX2" fmla="*/ 6323721 w 6323721"/>
              <a:gd name="connsiteY2" fmla="*/ 6858000 h 6858000"/>
              <a:gd name="connsiteX3" fmla="*/ 1559293 w 632372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23721" h="6858000">
                <a:moveTo>
                  <a:pt x="0" y="0"/>
                </a:moveTo>
                <a:lnTo>
                  <a:pt x="6323721" y="0"/>
                </a:lnTo>
                <a:lnTo>
                  <a:pt x="6323721" y="6858000"/>
                </a:lnTo>
                <a:lnTo>
                  <a:pt x="1559293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2400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D465AF7-5505-4EB6-B212-0A1089202E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0883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35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D465AF7-5505-4EB6-B212-0A1089202E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A9F9EF0D-C34A-427A-819C-F098A1F297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4DA30996-C27C-4DAD-82D5-502DC22EC03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gray">
          <a:xfrm>
            <a:off x="9831968" y="5045190"/>
            <a:ext cx="1664632" cy="1084110"/>
          </a:xfrm>
          <a:prstGeom prst="rect">
            <a:avLst/>
          </a:prstGeom>
        </p:spPr>
      </p:pic>
      <p:sp>
        <p:nvSpPr>
          <p:cNvPr id="18" name="Rechteck 17">
            <a:extLst>
              <a:ext uri="{FF2B5EF4-FFF2-40B4-BE49-F238E27FC236}">
                <a16:creationId xmlns:a16="http://schemas.microsoft.com/office/drawing/2014/main" id="{2B097AB1-56EA-4AF8-ABF0-E0E9E0592472}"/>
              </a:ext>
            </a:extLst>
          </p:cNvPr>
          <p:cNvSpPr/>
          <p:nvPr userDrawn="1"/>
        </p:nvSpPr>
        <p:spPr bwMode="gray">
          <a:xfrm>
            <a:off x="4800000" y="719983"/>
            <a:ext cx="4320003" cy="4320003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240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902BF999-C4D9-4A96-A6FD-03DE6680809A}"/>
              </a:ext>
            </a:extLst>
          </p:cNvPr>
          <p:cNvSpPr/>
          <p:nvPr userDrawn="1"/>
        </p:nvSpPr>
        <p:spPr bwMode="gray">
          <a:xfrm rot="784258">
            <a:off x="4800000" y="719983"/>
            <a:ext cx="4320003" cy="4320003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7BC4711-D31B-4CAE-A132-6C8DC6A67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238274" y="2207781"/>
            <a:ext cx="3600000" cy="1344407"/>
          </a:xfrm>
        </p:spPr>
        <p:txBody>
          <a:bodyPr anchor="ctr">
            <a:spAutoFit/>
          </a:bodyPr>
          <a:lstStyle>
            <a:lvl1pPr>
              <a:lnSpc>
                <a:spcPct val="91000"/>
              </a:lnSpc>
              <a:defRPr sz="3200" spc="-4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überschrif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7446330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D465AF7-5505-4EB6-B212-0A1089202E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259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D465AF7-5505-4EB6-B212-0A1089202E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A9F9EF0D-C34A-427A-819C-F098A1F297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F693DCC-B73B-4670-9202-19107BA790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CFF723-D7E3-4446-B8CF-0E726FBB9B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3145E02-685E-4B3F-AE53-6A44175774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68" t="14928" r="50466" b="57078"/>
          <a:stretch/>
        </p:blipFill>
        <p:spPr bwMode="gray">
          <a:xfrm rot="10800000">
            <a:off x="-8" y="1"/>
            <a:ext cx="12206519" cy="6317999"/>
          </a:xfrm>
          <a:prstGeom prst="rect">
            <a:avLst/>
          </a:prstGeom>
        </p:spPr>
      </p:pic>
      <p:sp>
        <p:nvSpPr>
          <p:cNvPr id="19" name="Freihandform 22">
            <a:extLst>
              <a:ext uri="{FF2B5EF4-FFF2-40B4-BE49-F238E27FC236}">
                <a16:creationId xmlns:a16="http://schemas.microsoft.com/office/drawing/2014/main" id="{7FB05671-8E00-4C33-8B59-718DE0DC2A6D}"/>
              </a:ext>
            </a:extLst>
          </p:cNvPr>
          <p:cNvSpPr/>
          <p:nvPr userDrawn="1"/>
        </p:nvSpPr>
        <p:spPr bwMode="gray">
          <a:xfrm>
            <a:off x="5868278" y="0"/>
            <a:ext cx="6338237" cy="6858000"/>
          </a:xfrm>
          <a:custGeom>
            <a:avLst/>
            <a:gdLst>
              <a:gd name="connsiteX0" fmla="*/ 0 w 4778829"/>
              <a:gd name="connsiteY0" fmla="*/ 0 h 5170714"/>
              <a:gd name="connsiteX1" fmla="*/ 4778829 w 4778829"/>
              <a:gd name="connsiteY1" fmla="*/ 0 h 5170714"/>
              <a:gd name="connsiteX2" fmla="*/ 4778829 w 4778829"/>
              <a:gd name="connsiteY2" fmla="*/ 5170714 h 5170714"/>
              <a:gd name="connsiteX3" fmla="*/ 1175657 w 4778829"/>
              <a:gd name="connsiteY3" fmla="*/ 5170714 h 5170714"/>
              <a:gd name="connsiteX4" fmla="*/ 0 w 4778829"/>
              <a:gd name="connsiteY4" fmla="*/ 0 h 5170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78829" h="5170714">
                <a:moveTo>
                  <a:pt x="0" y="0"/>
                </a:moveTo>
                <a:lnTo>
                  <a:pt x="4778829" y="0"/>
                </a:lnTo>
                <a:lnTo>
                  <a:pt x="4778829" y="5170714"/>
                </a:lnTo>
                <a:lnTo>
                  <a:pt x="1175657" y="517071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9CA51913-289D-4042-9174-9AC69677F29B}"/>
              </a:ext>
            </a:extLst>
          </p:cNvPr>
          <p:cNvSpPr/>
          <p:nvPr userDrawn="1"/>
        </p:nvSpPr>
        <p:spPr bwMode="gray">
          <a:xfrm>
            <a:off x="4896000" y="719983"/>
            <a:ext cx="4320003" cy="4320003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240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A0459DA-F6D6-4599-A5EC-2342004B2043}"/>
              </a:ext>
            </a:extLst>
          </p:cNvPr>
          <p:cNvSpPr/>
          <p:nvPr userDrawn="1"/>
        </p:nvSpPr>
        <p:spPr bwMode="gray">
          <a:xfrm rot="784258">
            <a:off x="4896000" y="719983"/>
            <a:ext cx="4320003" cy="4320003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2400"/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93D3E608-AF21-4FAF-BFAD-4472E66FF78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8" y="6317458"/>
            <a:ext cx="118553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F7BC4711-D31B-4CAE-A132-6C8DC6A67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28001" y="2207781"/>
            <a:ext cx="3600000" cy="1344407"/>
          </a:xfrm>
        </p:spPr>
        <p:txBody>
          <a:bodyPr anchor="ctr">
            <a:spAutoFit/>
          </a:bodyPr>
          <a:lstStyle>
            <a:lvl1pPr>
              <a:lnSpc>
                <a:spcPct val="91000"/>
              </a:lnSpc>
              <a:defRPr sz="3200" spc="-4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überschrift durch Klicken bearbeiten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1F79C1CE-0AAE-4FAE-8FC5-1D0C60700BD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3285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02 mit Num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68A8112B-B273-4562-B903-DF776AE670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044" r="58342" b="44962"/>
          <a:stretch/>
        </p:blipFill>
        <p:spPr bwMode="gray">
          <a:xfrm rot="10800000">
            <a:off x="-5" y="-1"/>
            <a:ext cx="12087924" cy="6317997"/>
          </a:xfrm>
          <a:prstGeom prst="rect">
            <a:avLst/>
          </a:prstGeom>
        </p:spPr>
      </p:pic>
      <p:sp>
        <p:nvSpPr>
          <p:cNvPr id="13" name="Freihandform 22">
            <a:extLst>
              <a:ext uri="{FF2B5EF4-FFF2-40B4-BE49-F238E27FC236}">
                <a16:creationId xmlns:a16="http://schemas.microsoft.com/office/drawing/2014/main" id="{D91720F9-31A9-4EEE-8228-E7B5E7B0F047}"/>
              </a:ext>
            </a:extLst>
          </p:cNvPr>
          <p:cNvSpPr/>
          <p:nvPr userDrawn="1"/>
        </p:nvSpPr>
        <p:spPr bwMode="gray">
          <a:xfrm>
            <a:off x="5868278" y="0"/>
            <a:ext cx="6338237" cy="6858000"/>
          </a:xfrm>
          <a:custGeom>
            <a:avLst/>
            <a:gdLst>
              <a:gd name="connsiteX0" fmla="*/ 0 w 4778829"/>
              <a:gd name="connsiteY0" fmla="*/ 0 h 5170714"/>
              <a:gd name="connsiteX1" fmla="*/ 4778829 w 4778829"/>
              <a:gd name="connsiteY1" fmla="*/ 0 h 5170714"/>
              <a:gd name="connsiteX2" fmla="*/ 4778829 w 4778829"/>
              <a:gd name="connsiteY2" fmla="*/ 5170714 h 5170714"/>
              <a:gd name="connsiteX3" fmla="*/ 1175657 w 4778829"/>
              <a:gd name="connsiteY3" fmla="*/ 5170714 h 5170714"/>
              <a:gd name="connsiteX4" fmla="*/ 0 w 4778829"/>
              <a:gd name="connsiteY4" fmla="*/ 0 h 5170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78829" h="5170714">
                <a:moveTo>
                  <a:pt x="0" y="0"/>
                </a:moveTo>
                <a:lnTo>
                  <a:pt x="4778829" y="0"/>
                </a:lnTo>
                <a:lnTo>
                  <a:pt x="4778829" y="5170714"/>
                </a:lnTo>
                <a:lnTo>
                  <a:pt x="1175657" y="517071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ADC5C39F-AA84-4535-960F-3717E05F3963}"/>
              </a:ext>
            </a:extLst>
          </p:cNvPr>
          <p:cNvSpPr/>
          <p:nvPr userDrawn="1"/>
        </p:nvSpPr>
        <p:spPr bwMode="gray">
          <a:xfrm>
            <a:off x="4800000" y="960000"/>
            <a:ext cx="4320003" cy="4320003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240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A606EBF-2EE1-4CAA-87F0-AF3B428230C4}"/>
              </a:ext>
            </a:extLst>
          </p:cNvPr>
          <p:cNvSpPr/>
          <p:nvPr userDrawn="1"/>
        </p:nvSpPr>
        <p:spPr bwMode="gray">
          <a:xfrm rot="20819106">
            <a:off x="4800000" y="960000"/>
            <a:ext cx="4320003" cy="4320003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240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D465AF7-5505-4EB6-B212-0A1089202E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4349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65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D465AF7-5505-4EB6-B212-0A1089202E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A9F9EF0D-C34A-427A-819C-F098A1F297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F693DCC-B73B-4670-9202-19107BA790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CFF723-D7E3-4446-B8CF-0E726FBB9B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93D3E608-AF21-4FAF-BFAD-4472E66FF78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8" y="6317458"/>
            <a:ext cx="118553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F7BC4711-D31B-4CAE-A132-6C8DC6A67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238274" y="2447797"/>
            <a:ext cx="3600000" cy="1344407"/>
          </a:xfrm>
        </p:spPr>
        <p:txBody>
          <a:bodyPr anchor="ctr">
            <a:spAutoFit/>
          </a:bodyPr>
          <a:lstStyle>
            <a:lvl1pPr>
              <a:lnSpc>
                <a:spcPct val="91000"/>
              </a:lnSpc>
              <a:defRPr sz="3200" spc="-4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überschrift durch Klicken bearbeiten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AF7B729C-EE23-4D6F-87D8-F31909A6F9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753112" y="1044664"/>
            <a:ext cx="1452962" cy="1354217"/>
          </a:xfrm>
        </p:spPr>
        <p:txBody>
          <a:bodyPr wrap="none" anchor="ctr">
            <a:spAutoFit/>
          </a:bodyPr>
          <a:lstStyle>
            <a:lvl1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8800" b="1" spc="-240" baseline="0">
                <a:solidFill>
                  <a:schemeClr val="tx1"/>
                </a:solidFill>
              </a:defRPr>
            </a:lvl1pPr>
            <a:lvl2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8800" b="1" spc="-240" baseline="0">
                <a:solidFill>
                  <a:schemeClr val="tx1"/>
                </a:solidFill>
              </a:defRPr>
            </a:lvl2pPr>
            <a:lvl3pPr marL="0" indent="0" algn="r">
              <a:lnSpc>
                <a:spcPct val="100000"/>
              </a:lnSpc>
              <a:buNone/>
              <a:defRPr sz="8800" b="1" spc="-240" baseline="0">
                <a:solidFill>
                  <a:schemeClr val="tx1"/>
                </a:solidFill>
              </a:defRPr>
            </a:lvl3pPr>
            <a:lvl4pPr marL="0" indent="0" algn="r">
              <a:lnSpc>
                <a:spcPct val="100000"/>
              </a:lnSpc>
              <a:buNone/>
              <a:defRPr sz="8800" b="1" spc="-240" baseline="0">
                <a:solidFill>
                  <a:schemeClr val="tx1"/>
                </a:solidFill>
              </a:defRPr>
            </a:lvl4pPr>
            <a:lvl5pPr marL="0" indent="0" algn="r">
              <a:lnSpc>
                <a:spcPct val="100000"/>
              </a:lnSpc>
              <a:buNone/>
              <a:defRPr sz="8800" b="1" spc="-24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X.X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AF1A9FB8-10FF-44AF-9955-91135DFD7B3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8909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2.xml"/><Relationship Id="rId47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AF61EC7-459C-4A99-B93D-601E7A1713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2286764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" name="think-cell Folie" r:id="rId44" imgW="344" imgH="345" progId="TCLayout.ActiveDocument.1">
                  <p:embed/>
                </p:oleObj>
              </mc:Choice>
              <mc:Fallback>
                <p:oleObj name="think-cell Folie" r:id="rId4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EDDBC26-4ED7-445A-B2B6-08835E703A64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A28CA4E-5444-4949-B168-1999F5F6A39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95400" y="908373"/>
            <a:ext cx="9792000" cy="38010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8CD1DAB-E43F-4A11-945B-CFDB175E43F2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695400" y="1844824"/>
            <a:ext cx="11160000" cy="417656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4CE9E3-D900-47A2-B004-1C5EFC2400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23868" y="6449956"/>
            <a:ext cx="6480000" cy="16158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5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2C8970-0A0A-455C-900C-4C90B13E0C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04920" y="6449956"/>
            <a:ext cx="288000" cy="16158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fld id="{1925EFE5-409A-4263-AA86-E37B8055B6A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9764C53-27BC-41A5-A695-92DA02CC79AC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51F9B854-0CC5-445D-A236-0867E317E95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360" y="6317458"/>
            <a:ext cx="1152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6113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49" r:id="rId2"/>
    <p:sldLayoutId id="2147483674" r:id="rId3"/>
    <p:sldLayoutId id="2147483651" r:id="rId4"/>
    <p:sldLayoutId id="2147483653" r:id="rId5"/>
    <p:sldLayoutId id="2147483654" r:id="rId6"/>
    <p:sldLayoutId id="2147483678" r:id="rId7"/>
    <p:sldLayoutId id="2147483655" r:id="rId8"/>
    <p:sldLayoutId id="2147483675" r:id="rId9"/>
    <p:sldLayoutId id="2147483659" r:id="rId10"/>
    <p:sldLayoutId id="2147483677" r:id="rId11"/>
    <p:sldLayoutId id="2147483676" r:id="rId12"/>
    <p:sldLayoutId id="2147483679" r:id="rId13"/>
    <p:sldLayoutId id="2147483680" r:id="rId14"/>
    <p:sldLayoutId id="2147483681" r:id="rId15"/>
    <p:sldLayoutId id="2147483683" r:id="rId16"/>
    <p:sldLayoutId id="2147483684" r:id="rId17"/>
    <p:sldLayoutId id="2147483685" r:id="rId18"/>
    <p:sldLayoutId id="2147483686" r:id="rId19"/>
    <p:sldLayoutId id="2147483682" r:id="rId20"/>
    <p:sldLayoutId id="2147483693" r:id="rId21"/>
    <p:sldLayoutId id="2147483694" r:id="rId22"/>
    <p:sldLayoutId id="2147483688" r:id="rId23"/>
    <p:sldLayoutId id="2147483687" r:id="rId24"/>
    <p:sldLayoutId id="2147483689" r:id="rId25"/>
    <p:sldLayoutId id="2147483697" r:id="rId26"/>
    <p:sldLayoutId id="2147483690" r:id="rId27"/>
    <p:sldLayoutId id="2147483691" r:id="rId28"/>
    <p:sldLayoutId id="2147483663" r:id="rId29"/>
    <p:sldLayoutId id="2147483664" r:id="rId30"/>
    <p:sldLayoutId id="2147483665" r:id="rId31"/>
    <p:sldLayoutId id="2147483666" r:id="rId32"/>
    <p:sldLayoutId id="2147483667" r:id="rId33"/>
    <p:sldLayoutId id="2147483668" r:id="rId34"/>
    <p:sldLayoutId id="2147483669" r:id="rId35"/>
    <p:sldLayoutId id="2147483670" r:id="rId36"/>
    <p:sldLayoutId id="2147483671" r:id="rId37"/>
    <p:sldLayoutId id="2147483672" r:id="rId38"/>
    <p:sldLayoutId id="2147483673" r:id="rId39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600" b="1" kern="1200" spc="-2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1000"/>
        </a:spcBef>
        <a:buFont typeface="Arial" panose="020B0604020202020204" pitchFamily="34" charset="0"/>
        <a:buNone/>
        <a:defRPr sz="1800" b="1" kern="1200" spc="-1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5000"/>
        </a:lnSpc>
        <a:spcBef>
          <a:spcPts val="600"/>
        </a:spcBef>
        <a:buFont typeface="Arial" panose="020B0604020202020204" pitchFamily="34" charset="0"/>
        <a:buNone/>
        <a:defRPr sz="1600" kern="1200" spc="-10" baseline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5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sz="1600" kern="1200" spc="-10" baseline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5000"/>
        </a:lnSpc>
        <a:spcBef>
          <a:spcPts val="200"/>
        </a:spcBef>
        <a:buClr>
          <a:schemeClr val="tx2"/>
        </a:buClr>
        <a:buFont typeface="Wingdings" panose="05000000000000000000" pitchFamily="2" charset="2"/>
        <a:buChar char="§"/>
        <a:defRPr sz="1400" kern="1200" spc="-10" baseline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5000"/>
        </a:lnSpc>
        <a:spcBef>
          <a:spcPts val="200"/>
        </a:spcBef>
        <a:buClr>
          <a:schemeClr val="tx2"/>
        </a:buClr>
        <a:buFont typeface="Wingdings" panose="05000000000000000000" pitchFamily="2" charset="2"/>
        <a:buChar char="§"/>
        <a:defRPr sz="1400" kern="1200" spc="-1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 userDrawn="1">
          <p15:clr>
            <a:srgbClr val="F26B43"/>
          </p15:clr>
        </p15:guide>
        <p15:guide id="2" orient="horz" pos="1162" userDrawn="1">
          <p15:clr>
            <a:srgbClr val="F26B43"/>
          </p15:clr>
        </p15:guide>
        <p15:guide id="3" pos="7469" userDrawn="1">
          <p15:clr>
            <a:srgbClr val="F26B43"/>
          </p15:clr>
        </p15:guide>
        <p15:guide id="4" orient="horz" pos="3793" userDrawn="1">
          <p15:clr>
            <a:srgbClr val="F26B43"/>
          </p15:clr>
        </p15:guide>
        <p15:guide id="5" pos="3772" userDrawn="1">
          <p15:clr>
            <a:srgbClr val="F26B43"/>
          </p15:clr>
        </p15:guide>
        <p15:guide id="6" pos="413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8.png"/><Relationship Id="rId2" Type="http://schemas.openxmlformats.org/officeDocument/2006/relationships/tags" Target="../tags/tag8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image" Target="../media/image17.jpeg"/><Relationship Id="rId2" Type="http://schemas.openxmlformats.org/officeDocument/2006/relationships/tags" Target="../tags/tag111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4.xml"/><Relationship Id="rId7" Type="http://schemas.openxmlformats.org/officeDocument/2006/relationships/image" Target="../media/image9.png"/><Relationship Id="rId2" Type="http://schemas.openxmlformats.org/officeDocument/2006/relationships/tags" Target="../tags/tag8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Layout" Target="../slideLayouts/slideLayout2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7" Type="http://schemas.openxmlformats.org/officeDocument/2006/relationships/image" Target="../media/image18.png"/><Relationship Id="rId2" Type="http://schemas.openxmlformats.org/officeDocument/2006/relationships/tags" Target="../tags/tag115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image" Target="../media/image19.jpeg"/><Relationship Id="rId2" Type="http://schemas.openxmlformats.org/officeDocument/2006/relationships/tags" Target="../tags/tag117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20.xml"/><Relationship Id="rId7" Type="http://schemas.openxmlformats.org/officeDocument/2006/relationships/image" Target="../media/image20.jpeg"/><Relationship Id="rId2" Type="http://schemas.openxmlformats.org/officeDocument/2006/relationships/tags" Target="../tags/tag119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7" Type="http://schemas.openxmlformats.org/officeDocument/2006/relationships/image" Target="../media/image21.jpeg"/><Relationship Id="rId2" Type="http://schemas.openxmlformats.org/officeDocument/2006/relationships/tags" Target="../tags/tag121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image" Target="../media/image22.jpg"/><Relationship Id="rId2" Type="http://schemas.openxmlformats.org/officeDocument/2006/relationships/tags" Target="../tags/tag125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7" Type="http://schemas.openxmlformats.org/officeDocument/2006/relationships/image" Target="../media/image23.jpg"/><Relationship Id="rId2" Type="http://schemas.openxmlformats.org/officeDocument/2006/relationships/tags" Target="../tags/tag12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g"/><Relationship Id="rId3" Type="http://schemas.openxmlformats.org/officeDocument/2006/relationships/tags" Target="../tags/tag130.xml"/><Relationship Id="rId7" Type="http://schemas.openxmlformats.org/officeDocument/2006/relationships/image" Target="../media/image24.jpg"/><Relationship Id="rId2" Type="http://schemas.openxmlformats.org/officeDocument/2006/relationships/tags" Target="../tags/tag129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7" Type="http://schemas.openxmlformats.org/officeDocument/2006/relationships/image" Target="../media/image25.png"/><Relationship Id="rId2" Type="http://schemas.openxmlformats.org/officeDocument/2006/relationships/tags" Target="../tags/tag131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slideLayout" Target="../slideLayouts/slideLayout2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chart" Target="../charts/chart1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4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86.xml"/><Relationship Id="rId7" Type="http://schemas.openxmlformats.org/officeDocument/2006/relationships/image" Target="../media/image11.png"/><Relationship Id="rId2" Type="http://schemas.openxmlformats.org/officeDocument/2006/relationships/tags" Target="../tags/tag8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Layout" Target="../slideLayouts/slideLayout2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36.xml"/><Relationship Id="rId7" Type="http://schemas.openxmlformats.org/officeDocument/2006/relationships/chart" Target="../charts/chart2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slideLayout" Target="../slideLayouts/slideLayout2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slideLayout" Target="../slideLayouts/slideLayout2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7" Type="http://schemas.openxmlformats.org/officeDocument/2006/relationships/image" Target="../media/image26.jpg"/><Relationship Id="rId2" Type="http://schemas.openxmlformats.org/officeDocument/2006/relationships/tags" Target="../tags/tag139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slideLayout" Target="../slideLayouts/slideLayout2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7" Type="http://schemas.openxmlformats.org/officeDocument/2006/relationships/image" Target="../media/image27.jpeg"/><Relationship Id="rId2" Type="http://schemas.openxmlformats.org/officeDocument/2006/relationships/tags" Target="../tags/tag141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slideLayout" Target="../slideLayouts/slideLayout2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7" Type="http://schemas.openxmlformats.org/officeDocument/2006/relationships/image" Target="../media/image28.jpeg"/><Relationship Id="rId2" Type="http://schemas.openxmlformats.org/officeDocument/2006/relationships/tags" Target="../tags/tag143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slideLayout" Target="../slideLayouts/slideLayout2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7" Type="http://schemas.openxmlformats.org/officeDocument/2006/relationships/chart" Target="../charts/chart4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4" Type="http://schemas.openxmlformats.org/officeDocument/2006/relationships/slideLayout" Target="../slideLayouts/slideLayout2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Layout" Target="../slideLayouts/slideLayout2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slideLayout" Target="../slideLayouts/slideLayout3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7" Type="http://schemas.openxmlformats.org/officeDocument/2006/relationships/image" Target="../media/image22.jpg"/><Relationship Id="rId2" Type="http://schemas.openxmlformats.org/officeDocument/2006/relationships/tags" Target="../tags/tag151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slideLayout" Target="../slideLayouts/slideLayout3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image" Target="../media/image24.jpg"/><Relationship Id="rId2" Type="http://schemas.openxmlformats.org/officeDocument/2006/relationships/tags" Target="../tags/tag153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9.bin"/><Relationship Id="rId4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13.jpeg"/><Relationship Id="rId2" Type="http://schemas.openxmlformats.org/officeDocument/2006/relationships/tags" Target="../tags/tag87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Layout" Target="../slideLayouts/slideLayout16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g"/><Relationship Id="rId3" Type="http://schemas.openxmlformats.org/officeDocument/2006/relationships/tags" Target="../tags/tag156.xml"/><Relationship Id="rId7" Type="http://schemas.openxmlformats.org/officeDocument/2006/relationships/image" Target="../media/image24.jpg"/><Relationship Id="rId2" Type="http://schemas.openxmlformats.org/officeDocument/2006/relationships/tags" Target="../tags/tag155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0.bin"/><Relationship Id="rId4" Type="http://schemas.openxmlformats.org/officeDocument/2006/relationships/slideLayout" Target="../slideLayouts/slideLayout3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7" Type="http://schemas.openxmlformats.org/officeDocument/2006/relationships/image" Target="../media/image25.png"/><Relationship Id="rId2" Type="http://schemas.openxmlformats.org/officeDocument/2006/relationships/tags" Target="../tags/tag157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1.bin"/><Relationship Id="rId4" Type="http://schemas.openxmlformats.org/officeDocument/2006/relationships/slideLayout" Target="../slideLayouts/slideLayout3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7" Type="http://schemas.openxmlformats.org/officeDocument/2006/relationships/chart" Target="../charts/chart5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2.bin"/><Relationship Id="rId4" Type="http://schemas.openxmlformats.org/officeDocument/2006/relationships/slideLayout" Target="../slideLayouts/slideLayout35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162.xml"/><Relationship Id="rId7" Type="http://schemas.openxmlformats.org/officeDocument/2006/relationships/chart" Target="../charts/chart6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3.bin"/><Relationship Id="rId4" Type="http://schemas.openxmlformats.org/officeDocument/2006/relationships/slideLayout" Target="../slideLayouts/slideLayout3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7" Type="http://schemas.openxmlformats.org/officeDocument/2006/relationships/chart" Target="../charts/chart8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4.bin"/><Relationship Id="rId4" Type="http://schemas.openxmlformats.org/officeDocument/2006/relationships/slideLayout" Target="../slideLayouts/slideLayout3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14.png"/><Relationship Id="rId2" Type="http://schemas.openxmlformats.org/officeDocument/2006/relationships/tags" Target="../tags/tag89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15.emf"/><Relationship Id="rId2" Type="http://schemas.openxmlformats.org/officeDocument/2006/relationships/tags" Target="../tags/tag91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image" Target="../media/image16.png"/><Relationship Id="rId2" Type="http://schemas.openxmlformats.org/officeDocument/2006/relationships/tags" Target="../tags/tag97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CF16498-F0B8-4FB2-AE0F-DC77A7430D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3360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3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A97BBB4-9E64-4FD2-9CAA-918D805A15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69D1C8F-2065-4306-9376-C382917EEC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2742C94-6AE0-405B-BB33-7FEA04DD90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youtübersich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CDE0B1E-E64D-4D19-AC09-DD6C217CC419}"/>
              </a:ext>
            </a:extLst>
          </p:cNvPr>
          <p:cNvSpPr/>
          <p:nvPr/>
        </p:nvSpPr>
        <p:spPr bwMode="gray">
          <a:xfrm>
            <a:off x="4927372" y="1844824"/>
            <a:ext cx="6929666" cy="1159292"/>
          </a:xfrm>
          <a:prstGeom prst="rect">
            <a:avLst/>
          </a:prstGeom>
          <a:solidFill>
            <a:schemeClr val="bg1"/>
          </a:solidFill>
          <a:ln w="6350">
            <a:solidFill>
              <a:srgbClr val="9A9A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t" anchorCtr="0">
            <a:spAutoFit/>
          </a:bodyPr>
          <a:lstStyle/>
          <a:p>
            <a:pPr marL="0" lvl="1" fontAlgn="base">
              <a:spcBef>
                <a:spcPts val="800"/>
              </a:spcBef>
              <a:buClr>
                <a:schemeClr val="accent2"/>
              </a:buClr>
              <a:buSzPct val="120000"/>
            </a:pPr>
            <a:r>
              <a:rPr lang="de-DE" b="1" dirty="0">
                <a:solidFill>
                  <a:schemeClr val="tx1"/>
                </a:solidFill>
              </a:rPr>
              <a:t>Erläuterung</a:t>
            </a:r>
          </a:p>
          <a:p>
            <a:pPr marL="0" lvl="1" fontAlgn="base">
              <a:spcBef>
                <a:spcPts val="400"/>
              </a:spcBef>
              <a:buClr>
                <a:schemeClr val="accent2"/>
              </a:buClr>
              <a:buSzPct val="120000"/>
            </a:pPr>
            <a:r>
              <a:rPr lang="de-DE" sz="1600" dirty="0">
                <a:solidFill>
                  <a:schemeClr val="tx1"/>
                </a:solidFill>
              </a:rPr>
              <a:t>Bitte benutzen Sie nur die in der Vorlage vorgegebenen Layouts bei der Erstellung Ihrer Inhalte. </a:t>
            </a:r>
            <a:r>
              <a:rPr lang="de-DE" sz="1600" b="1" dirty="0">
                <a:solidFill>
                  <a:schemeClr val="tx1"/>
                </a:solidFill>
              </a:rPr>
              <a:t>Bitte vermeiden Sie aus technischen Gründen </a:t>
            </a:r>
            <a:br>
              <a:rPr lang="de-DE" sz="1600" b="1" dirty="0">
                <a:solidFill>
                  <a:schemeClr val="tx1"/>
                </a:solidFill>
              </a:rPr>
            </a:br>
            <a:r>
              <a:rPr lang="de-DE" sz="1600" b="1" dirty="0">
                <a:solidFill>
                  <a:schemeClr val="tx1"/>
                </a:solidFill>
              </a:rPr>
              <a:t>einen Layoutwechsel.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13A797CE-DC79-41E0-8AA9-7ADF82686BBE}"/>
              </a:ext>
            </a:extLst>
          </p:cNvPr>
          <p:cNvGrpSpPr/>
          <p:nvPr/>
        </p:nvGrpSpPr>
        <p:grpSpPr>
          <a:xfrm>
            <a:off x="695402" y="1844825"/>
            <a:ext cx="3869176" cy="4175932"/>
            <a:chOff x="2909887" y="-467105"/>
            <a:chExt cx="6372225" cy="6877429"/>
          </a:xfrm>
        </p:grpSpPr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9ADC4EDE-0C1C-4255-A143-E4DED57FCA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09887" y="4370831"/>
              <a:ext cx="6372225" cy="2039493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9F0BF004-19DA-4531-8E26-A8AFC0F511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09887" y="-467105"/>
              <a:ext cx="6372225" cy="483793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289077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D84B85F-F5CF-43DA-A08F-AB3B2A3B99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0305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7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6BD2CFD-42AD-4097-B72F-C05190BF2EA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A54503C-5DA9-4AAA-998D-CF26BD3F01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000" y="1920000"/>
            <a:ext cx="7920000" cy="1052596"/>
          </a:xfrm>
        </p:spPr>
        <p:txBody>
          <a:bodyPr/>
          <a:lstStyle/>
          <a:p>
            <a:r>
              <a:rPr lang="de-DE" dirty="0"/>
              <a:t>Platzhalter für den Präsentationstitel, </a:t>
            </a:r>
            <a:br>
              <a:rPr lang="de-DE" dirty="0"/>
            </a:br>
            <a:r>
              <a:rPr lang="de-DE" dirty="0"/>
              <a:t>maximal vierzeili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DDEA1D3-A2E5-49A2-A071-432375A430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Kolpingsfamilie Beispielhaus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264BA9-A520-41B4-BD9D-29811740A1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TT. Monat 20XX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399EAEC-D5E6-4F8B-B076-1B855CEFC26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Name, Funktion</a:t>
            </a:r>
          </a:p>
        </p:txBody>
      </p:sp>
    </p:spTree>
    <p:extLst>
      <p:ext uri="{BB962C8B-B14F-4D97-AF65-F5344CB8AC3E}">
        <p14:creationId xmlns:p14="http://schemas.microsoft.com/office/powerpoint/2010/main" val="21434129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kt 33" hidden="1">
            <a:extLst>
              <a:ext uri="{FF2B5EF4-FFF2-40B4-BE49-F238E27FC236}">
                <a16:creationId xmlns:a16="http://schemas.microsoft.com/office/drawing/2014/main" id="{2C67F71C-AD12-478C-98DE-F4346EDB7F5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4988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3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34" name="Objekt 33" hidden="1">
                        <a:extLst>
                          <a:ext uri="{FF2B5EF4-FFF2-40B4-BE49-F238E27FC236}">
                            <a16:creationId xmlns:a16="http://schemas.microsoft.com/office/drawing/2014/main" id="{2C67F71C-AD12-478C-98DE-F4346EDB7F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D47934F-3BE3-436E-9246-55B938E48C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22" name="Foliennummernplatzhalter 21">
            <a:extLst>
              <a:ext uri="{FF2B5EF4-FFF2-40B4-BE49-F238E27FC236}">
                <a16:creationId xmlns:a16="http://schemas.microsoft.com/office/drawing/2014/main" id="{B6379ECB-67A9-4391-865C-0251CEB908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B245631-31C0-42B7-AEA2-DE79E82BED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C61F844-A444-4716-857B-68CF478164B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49F24BA-4CD3-4510-BC4F-4B621800A1E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94E5DC6-2BFB-483D-87D8-89669E1A50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06793D4-ADF8-4E22-953E-1F7713D8E6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DB4E22C-CF68-4F9E-BEC6-190F2F3DB8B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CFD8829-35B1-40FC-BA18-CE4134C939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676EEFB-15D3-4242-8ACC-269785BCB7C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9990F48-9499-4F7C-ABBB-FD1C156F25E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ECC1A19B-B67F-460B-89BF-6B6A42A8CB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EAB9947-E8F5-4E8A-AEC7-54E04A1B52A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63B4D31-3AB2-4434-9E81-9308D0BB86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3BF21FEC-B20D-4022-ABFF-2984F2FF08E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2B3DC6CE-75B8-42F6-A981-253A7D9E40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A198C3A3-5BEF-4C16-BBFC-459E072AB0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DDCDF9DF-821F-41C6-B13D-858166BB14E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 bwMode="gray"/>
        <p:txBody>
          <a:bodyPr/>
          <a:lstStyle/>
          <a:p>
            <a:r>
              <a:rPr lang="de-DE" dirty="0"/>
              <a:t>6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652CFDB9-F182-490F-A878-3112B82616D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5921E1D-ADA5-4FD8-87D0-501963D626B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85129028-267D-4737-A938-B9601C12617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47CC1430-A45E-4D5F-94B7-650F66B02AB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AD78256-7A1F-46E9-A399-457F1CC5429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A7AE973E-E1F0-4A48-91BD-9262EEF9B58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BFAEDAB-9F2A-4EE6-8E8C-607693501A6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3A8B9891-F1C1-4FDD-916D-15ADEE21BCF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F781D315-9017-4C65-8EC8-3E8516145ED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B2B449B3-B7B5-4C4B-945E-7C6D4B0B1FA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F55E6EC4-295D-4E28-BE77-F0AFC1EE6D0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08CDF65D-FC53-4C77-BF16-AF834CCEBB0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405CC880-6B6D-4D67-81DC-038A9A553FD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655CD325-1F20-4726-8CBD-13E12DA2228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714DE5-D388-47CC-B097-07E7A3D91D9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222998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kt 33" hidden="1">
            <a:extLst>
              <a:ext uri="{FF2B5EF4-FFF2-40B4-BE49-F238E27FC236}">
                <a16:creationId xmlns:a16="http://schemas.microsoft.com/office/drawing/2014/main" id="{2C67F71C-AD12-478C-98DE-F4346EDB7F5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1573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34" name="Objekt 33" hidden="1">
                        <a:extLst>
                          <a:ext uri="{FF2B5EF4-FFF2-40B4-BE49-F238E27FC236}">
                            <a16:creationId xmlns:a16="http://schemas.microsoft.com/office/drawing/2014/main" id="{2C67F71C-AD12-478C-98DE-F4346EDB7F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6AC8E4A-CF0C-4B6F-8DBB-187A2DD258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22" name="Foliennummernplatzhalter 21">
            <a:extLst>
              <a:ext uri="{FF2B5EF4-FFF2-40B4-BE49-F238E27FC236}">
                <a16:creationId xmlns:a16="http://schemas.microsoft.com/office/drawing/2014/main" id="{7D1C75DA-961C-445A-982C-C607C5A2865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B245631-31C0-42B7-AEA2-DE79E82BED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solidFill>
            <a:schemeClr val="accent1"/>
          </a:solidFill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C61F844-A444-4716-857B-68CF478164B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49F24BA-4CD3-4510-BC4F-4B621800A1E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94E5DC6-2BFB-483D-87D8-89669E1A50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06793D4-ADF8-4E22-953E-1F7713D8E6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DB4E22C-CF68-4F9E-BEC6-190F2F3DB8B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CFD8829-35B1-40FC-BA18-CE4134C939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676EEFB-15D3-4242-8ACC-269785BCB7C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9990F48-9499-4F7C-ABBB-FD1C156F25E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ECC1A19B-B67F-460B-89BF-6B6A42A8CB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EAB9947-E8F5-4E8A-AEC7-54E04A1B52A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63B4D31-3AB2-4434-9E81-9308D0BB86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3BF21FEC-B20D-4022-ABFF-2984F2FF08E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2B3DC6CE-75B8-42F6-A981-253A7D9E40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A198C3A3-5BEF-4C16-BBFC-459E072AB0A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DDCDF9DF-821F-41C6-B13D-858166BB14E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 bwMode="gray"/>
        <p:txBody>
          <a:bodyPr/>
          <a:lstStyle/>
          <a:p>
            <a:r>
              <a:rPr lang="de-DE" dirty="0"/>
              <a:t>6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652CFDB9-F182-490F-A878-3112B82616D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5921E1D-ADA5-4FD8-87D0-501963D626B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47635F3A-EAB3-4D19-B68C-9D09F62118E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99E6B0DB-F56B-4FFC-BC8A-D0FF2AC92E7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AB918B89-8EB4-4B19-84D8-F680F320E32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2CCF46A6-1B21-4CFD-806A-5D52EF4FEBA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B352C490-1F0F-4B11-B9D9-E733656EC59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5C31ED62-5311-4A37-A6FE-F81D1ED34AB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A387DB2E-FC03-4829-B606-6EC249E5461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EFBABCF1-4900-4D97-B041-5A41D2FA434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3D3980D8-CF17-4E4A-9AD9-7EAB3D27C70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0F42772C-E311-430F-9DC9-6D14246211C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A3E25DB6-7E2F-4684-B20C-8A6A5499D2DC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5F64D762-58B1-4EF6-9211-19941CAEA62C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714DE5-D388-47CC-B097-07E7A3D91D9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9309293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kt 53" hidden="1">
            <a:extLst>
              <a:ext uri="{FF2B5EF4-FFF2-40B4-BE49-F238E27FC236}">
                <a16:creationId xmlns:a16="http://schemas.microsoft.com/office/drawing/2014/main" id="{90F23068-169B-4EB5-9AB0-0490FBC840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0653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7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54" name="Objekt 53" hidden="1">
                        <a:extLst>
                          <a:ext uri="{FF2B5EF4-FFF2-40B4-BE49-F238E27FC236}">
                            <a16:creationId xmlns:a16="http://schemas.microsoft.com/office/drawing/2014/main" id="{90F23068-169B-4EB5-9AB0-0490FBC840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EE05D38-8B67-4D3F-A82A-ECEFF3AFAD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4" name="Foliennummernplatzhalter 33">
            <a:extLst>
              <a:ext uri="{FF2B5EF4-FFF2-40B4-BE49-F238E27FC236}">
                <a16:creationId xmlns:a16="http://schemas.microsoft.com/office/drawing/2014/main" id="{F6CF9C6B-5437-4B05-9501-9DC0ACADC0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EECFD08-D659-4102-9A3C-307CE8120B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0C5FFE2-E919-43B0-A4B0-7E25D62416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2C0FCA2-0DFD-424F-849A-228516D2E6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901F0B0-4A55-476D-97AD-CE0CA1F036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46DE501-DAC5-468C-A91E-7997ADE076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8B060DB-9CBC-4575-85B7-91FF9795B2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FBE3802-FEF1-45BA-AD98-DF1362BDF9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0E12457-2034-4D39-B3AE-4A1E7F141A9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B5A3543-B347-4595-9C28-C986C88BB6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74081C6-8FC6-4082-943C-52D10094F87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E17C9A6-167C-4237-919B-E46406A393B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C183CBE-3502-4FDE-AEA9-1C850BE6BE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676F1D61-4C55-447B-8B34-A9260E7FC41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07C70E1E-362A-48F1-A6F1-A5B677F764E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1D2A26A-F1E4-4837-95D0-5C34B3416E9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D5F056D9-5504-4F30-9963-3EBADF887A6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 bwMode="gray"/>
        <p:txBody>
          <a:bodyPr/>
          <a:lstStyle/>
          <a:p>
            <a:r>
              <a:rPr lang="de-DE" dirty="0"/>
              <a:t>6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6B70106C-86CE-415D-9AB9-03D02693981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9695C9EA-64B5-4D8C-95CC-BD883AFC874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8A1F1A8C-DCEF-4584-97F1-04D4827284A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 bwMode="gray"/>
        <p:txBody>
          <a:bodyPr/>
          <a:lstStyle/>
          <a:p>
            <a:r>
              <a:rPr lang="de-DE" dirty="0"/>
              <a:t>7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4C64A577-4780-4874-8070-563F45A6E29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BC606C65-81DA-4AA0-B93B-3B49F5FB141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FA2DDA96-6FA1-4567-AF06-A1DCD327CE5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 bwMode="gray"/>
        <p:txBody>
          <a:bodyPr/>
          <a:lstStyle/>
          <a:p>
            <a:r>
              <a:rPr lang="de-DE" dirty="0"/>
              <a:t>8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8E895BF1-E32F-4FDA-839D-C4E03FD3E8B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ADA540B0-62F6-4492-B0E1-ED4F13D5F7B4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26049BEC-2951-472E-8E92-ED97E7EDEBE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 bwMode="gray"/>
        <p:txBody>
          <a:bodyPr/>
          <a:lstStyle/>
          <a:p>
            <a:r>
              <a:rPr lang="de-DE" dirty="0"/>
              <a:t>9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82AB2A74-E9F8-4FCF-B163-9F13800D8A68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ACDE21DE-BD48-4228-82DA-7CE4F0C9A1E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1FDCEB1A-7BF2-424A-9F30-7586EFAD38BA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 bwMode="gray"/>
        <p:txBody>
          <a:bodyPr/>
          <a:lstStyle/>
          <a:p>
            <a:r>
              <a:rPr lang="de-DE" dirty="0"/>
              <a:t>10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78576C2-D903-46FB-A226-58CE40CC14D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6AA12C6-0276-4B72-BED0-6B26F972464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AAE85B9A-66B5-46B0-A1D6-742855879F2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35CEDF50-942E-4FA5-9748-24EE9546004C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82C24AD1-B58B-4A94-8EA2-11A55FEA6480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AC4104BC-E46F-4FEE-BDB3-75E6F496C292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C0633B47-B31F-4838-B994-C6138687470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7461F511-23E1-4689-82D4-6345B4ABB645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5AF5F36E-78E7-475F-A2F7-257F41AD2B63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524D4CA0-401F-473D-AE99-0A6308CFBD7F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FE7D250B-115C-4C27-90DB-6C984FEACB3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1E3B9184-7589-48DE-BF26-10CF0F2CD53C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AA2BD78A-C44E-4E9C-A9FE-28A2BD0488E2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306FA02A-F192-4395-86AC-303335D1D8E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C00454A-F864-425D-A949-9E399152C98C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E9FD6540-C92B-42D0-A119-10673CAC1A66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BFF94842-50BD-4153-B814-434E2D589D0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C3607526-398B-43D5-AAF8-6243C5302DAB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1" name="Textplatzhalter 50">
            <a:extLst>
              <a:ext uri="{FF2B5EF4-FFF2-40B4-BE49-F238E27FC236}">
                <a16:creationId xmlns:a16="http://schemas.microsoft.com/office/drawing/2014/main" id="{EF972B31-6566-458E-B5FF-FFE9C839C312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2D1F0407-F788-45CA-921F-22BBC80A7C67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E661BACF-17A1-42D0-B2E1-73635E2CCDD2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5" name="Textplatzhalter 54">
            <a:extLst>
              <a:ext uri="{FF2B5EF4-FFF2-40B4-BE49-F238E27FC236}">
                <a16:creationId xmlns:a16="http://schemas.microsoft.com/office/drawing/2014/main" id="{CACF4701-0257-4421-9393-C009C94625E1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4E21598-D414-4B25-85C8-F77268179D9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128271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kt 53" hidden="1">
            <a:extLst>
              <a:ext uri="{FF2B5EF4-FFF2-40B4-BE49-F238E27FC236}">
                <a16:creationId xmlns:a16="http://schemas.microsoft.com/office/drawing/2014/main" id="{90F23068-169B-4EB5-9AB0-0490FBC840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45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0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54" name="Objekt 53" hidden="1">
                        <a:extLst>
                          <a:ext uri="{FF2B5EF4-FFF2-40B4-BE49-F238E27FC236}">
                            <a16:creationId xmlns:a16="http://schemas.microsoft.com/office/drawing/2014/main" id="{90F23068-169B-4EB5-9AB0-0490FBC840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0F5C7A6-FA26-42EB-872F-D7C1E7A8D8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4" name="Foliennummernplatzhalter 33">
            <a:extLst>
              <a:ext uri="{FF2B5EF4-FFF2-40B4-BE49-F238E27FC236}">
                <a16:creationId xmlns:a16="http://schemas.microsoft.com/office/drawing/2014/main" id="{6A2D99FE-65A3-401B-9D5F-DC636755396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EECFD08-D659-4102-9A3C-307CE8120B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solidFill>
            <a:schemeClr val="accent1"/>
          </a:solidFill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0C5FFE2-E919-43B0-A4B0-7E25D62416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2C0FCA2-0DFD-424F-849A-228516D2E6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901F0B0-4A55-476D-97AD-CE0CA1F036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46DE501-DAC5-468C-A91E-7997ADE076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8B060DB-9CBC-4575-85B7-91FF9795B2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FBE3802-FEF1-45BA-AD98-DF1362BDF9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0E12457-2034-4D39-B3AE-4A1E7F141A9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B5A3543-B347-4595-9C28-C986C88BB6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74081C6-8FC6-4082-943C-52D10094F87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6E17C9A6-167C-4237-919B-E46406A393B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C183CBE-3502-4FDE-AEA9-1C850BE6BEA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676F1D61-4C55-447B-8B34-A9260E7FC41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07C70E1E-362A-48F1-A6F1-A5B677F764E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81D2A26A-F1E4-4837-95D0-5C34B3416E9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D5F056D9-5504-4F30-9963-3EBADF887A6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 bwMode="gray"/>
        <p:txBody>
          <a:bodyPr/>
          <a:lstStyle/>
          <a:p>
            <a:r>
              <a:rPr lang="de-DE" dirty="0"/>
              <a:t>6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6B70106C-86CE-415D-9AB9-03D02693981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9695C9EA-64B5-4D8C-95CC-BD883AFC874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8A1F1A8C-DCEF-4584-97F1-04D4827284A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 bwMode="gray"/>
        <p:txBody>
          <a:bodyPr/>
          <a:lstStyle/>
          <a:p>
            <a:r>
              <a:rPr lang="de-DE" dirty="0"/>
              <a:t>7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4C64A577-4780-4874-8070-563F45A6E29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BC606C65-81DA-4AA0-B93B-3B49F5FB141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FA2DDA96-6FA1-4567-AF06-A1DCD327CE5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 bwMode="gray"/>
        <p:txBody>
          <a:bodyPr/>
          <a:lstStyle/>
          <a:p>
            <a:r>
              <a:rPr lang="de-DE" dirty="0"/>
              <a:t>8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8E895BF1-E32F-4FDA-839D-C4E03FD3E8B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ADA540B0-62F6-4492-B0E1-ED4F13D5F7B4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26049BEC-2951-472E-8E92-ED97E7EDEBE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 bwMode="gray"/>
        <p:txBody>
          <a:bodyPr/>
          <a:lstStyle/>
          <a:p>
            <a:r>
              <a:rPr lang="de-DE" dirty="0"/>
              <a:t>9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82AB2A74-E9F8-4FCF-B163-9F13800D8A68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ACDE21DE-BD48-4228-82DA-7CE4F0C9A1E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1FDCEB1A-7BF2-424A-9F30-7586EFAD38BA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 bwMode="gray"/>
        <p:txBody>
          <a:bodyPr/>
          <a:lstStyle/>
          <a:p>
            <a:r>
              <a:rPr lang="de-DE" dirty="0"/>
              <a:t>10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778576C2-D903-46FB-A226-58CE40CC14D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 bwMode="gray"/>
        <p:txBody>
          <a:bodyPr/>
          <a:lstStyle/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6AA12C6-0276-4B72-BED0-6B26F972464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 bwMode="gray"/>
        <p:txBody>
          <a:bodyPr/>
          <a:lstStyle/>
          <a:p>
            <a:r>
              <a:rPr lang="de-DE" dirty="0"/>
              <a:t>Seite XX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170916D9-B019-4B17-8D00-3DB62F3BCC7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C3B49F46-3B1B-4B75-873C-DEC51322EBFB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E78014E0-DB65-4E77-8337-8D40D5C75E52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7D461CBE-2C2E-4388-9ED6-7566D675F69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A4095471-6F3A-48D2-958F-2709B1B8F981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7AC9B960-C5A9-43B3-B436-99BCEE896B83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82E3FEA7-AD8B-4EFC-BD59-1A181846CBE3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C3BADA06-594B-4C03-B0E3-2D422B84352E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E77636CF-29C9-4597-983E-1CF7E84440AA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86C0D2F8-0A13-4229-A40B-B03F57CE41FD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5CAF9B11-E6B3-4EF2-8D44-CBF1B453D19E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1F6D4ECB-2235-42DF-BD27-A7A78133AA8B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BF928583-16EE-43EA-B199-394FB64EF3F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A53DA722-50BE-4592-B01A-0FBA2A64FBB1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9" name="Textplatzhalter 48">
            <a:extLst>
              <a:ext uri="{FF2B5EF4-FFF2-40B4-BE49-F238E27FC236}">
                <a16:creationId xmlns:a16="http://schemas.microsoft.com/office/drawing/2014/main" id="{54DE745B-C7CD-4F03-96BB-C410622C46AC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97FC6D69-D1D4-4C98-872D-C76530964A22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1" name="Textplatzhalter 50">
            <a:extLst>
              <a:ext uri="{FF2B5EF4-FFF2-40B4-BE49-F238E27FC236}">
                <a16:creationId xmlns:a16="http://schemas.microsoft.com/office/drawing/2014/main" id="{B0387298-C2FC-43CB-A43D-B28B7D97EBF8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C9F1683A-1F97-4688-8913-FD771F17F0C4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F13DA7DF-811D-4AB2-8FFC-D591A5BC48F3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5" name="Textplatzhalter 54">
            <a:extLst>
              <a:ext uri="{FF2B5EF4-FFF2-40B4-BE49-F238E27FC236}">
                <a16:creationId xmlns:a16="http://schemas.microsoft.com/office/drawing/2014/main" id="{F3205E1D-5ABA-49BD-97FD-F09566816D01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4E21598-D414-4B25-85C8-F77268179D9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6493991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6020371-144F-4766-8B70-C660502075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1131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9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86FAE311-D196-474E-85F7-F125154452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32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15BA35-0CC2-4994-B3CD-EF724016E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8274" y="2431849"/>
            <a:ext cx="3600000" cy="896271"/>
          </a:xfrm>
        </p:spPr>
        <p:txBody>
          <a:bodyPr/>
          <a:lstStyle/>
          <a:p>
            <a:r>
              <a:rPr lang="de-DE" dirty="0"/>
              <a:t>Platzhalter für ein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28452547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8A27305-B495-4633-903C-82596CB49B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944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1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0E221BF8-7840-4824-91BC-9E93128E770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32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B66890E-78C5-4287-9C1D-6396F43A05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E8E4D04-C2FA-40CF-966F-2FC5787ADF9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66486EC-DC64-40B1-B6C5-7E27069E44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001" y="2431849"/>
            <a:ext cx="3600000" cy="896271"/>
          </a:xfrm>
        </p:spPr>
        <p:txBody>
          <a:bodyPr/>
          <a:lstStyle/>
          <a:p>
            <a:r>
              <a:rPr lang="de-DE" dirty="0"/>
              <a:t>Platzhalter für ein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1759626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AD3D993-9792-4846-8096-C0632DAC4C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1160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4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FEE661C4-04AE-41F7-9F57-257BAFFF6F5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32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6906DA5-12BC-433D-9B9C-4B64BC5187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23868" y="6449956"/>
            <a:ext cx="6480000" cy="161583"/>
          </a:xfrm>
        </p:spPr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3BE9764-B1F1-459E-AB1D-3A0A1997F5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04920" y="6449956"/>
            <a:ext cx="288000" cy="161583"/>
          </a:xfrm>
        </p:spPr>
        <p:txBody>
          <a:bodyPr/>
          <a:lstStyle/>
          <a:p>
            <a:fld id="{1925EFE5-409A-4263-AA86-E37B8055B6A0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53DF7EC-57FA-4468-A7CA-EC0EA37734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8274" y="2447797"/>
            <a:ext cx="3600000" cy="1344407"/>
          </a:xfrm>
        </p:spPr>
        <p:txBody>
          <a:bodyPr/>
          <a:lstStyle/>
          <a:p>
            <a:r>
              <a:rPr lang="de-DE" dirty="0"/>
              <a:t>Platzhalter für eine Kapitelüberschrif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639D668-D53D-4FC4-B457-EEA57E73A9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53112" y="1044664"/>
            <a:ext cx="1452962" cy="1354217"/>
          </a:xfrm>
        </p:spPr>
        <p:txBody>
          <a:bodyPr/>
          <a:lstStyle/>
          <a:p>
            <a:r>
              <a:rPr lang="de-DE" dirty="0"/>
              <a:t>2.1</a:t>
            </a:r>
          </a:p>
        </p:txBody>
      </p:sp>
    </p:spTree>
    <p:extLst>
      <p:ext uri="{BB962C8B-B14F-4D97-AF65-F5344CB8AC3E}">
        <p14:creationId xmlns:p14="http://schemas.microsoft.com/office/powerpoint/2010/main" val="41869775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E3B9086-4C48-46E0-83B6-3F13E179C9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5444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1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319C1430-0914-45BA-BCE6-7A7BF3E6FE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32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BD74649-6E77-4AE8-9037-E0A7E5BE2C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23868" y="6449956"/>
            <a:ext cx="6480000" cy="161583"/>
          </a:xfrm>
        </p:spPr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B1997A9-D981-4119-A5D1-EBD5BAE4240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04920" y="6449956"/>
            <a:ext cx="288000" cy="161583"/>
          </a:xfrm>
        </p:spPr>
        <p:txBody>
          <a:bodyPr/>
          <a:lstStyle/>
          <a:p>
            <a:fld id="{1925EFE5-409A-4263-AA86-E37B8055B6A0}" type="slidenum">
              <a:rPr lang="de-DE" smtClean="0"/>
              <a:pPr/>
              <a:t>18</a:t>
            </a:fld>
            <a:endParaRPr lang="de-DE" dirty="0"/>
          </a:p>
        </p:txBody>
      </p:sp>
      <p:pic>
        <p:nvPicPr>
          <p:cNvPr id="10" name="Bildplatzhalter 9" descr="Ein Bild, das Person, draußen, Frau, Gebäude enthält.&#10;&#10;Automatisch generierte Beschreibung">
            <a:extLst>
              <a:ext uri="{FF2B5EF4-FFF2-40B4-BE49-F238E27FC236}">
                <a16:creationId xmlns:a16="http://schemas.microsoft.com/office/drawing/2014/main" id="{7E4E9C1E-E818-4B4C-BA75-252EA9CAD35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6000" y="719981"/>
            <a:ext cx="4320000" cy="4320000"/>
          </a:xfr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3EA4A471-BA49-4ED8-9D74-71139DFB8E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64F5A04-0449-49FB-8DBF-CDE0539BF6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7650" y="2432383"/>
            <a:ext cx="3600450" cy="896271"/>
          </a:xfrm>
        </p:spPr>
        <p:txBody>
          <a:bodyPr/>
          <a:lstStyle/>
          <a:p>
            <a:r>
              <a:rPr lang="de-DE" dirty="0"/>
              <a:t>Platzhalter für ein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4281713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F18F95C-CFAD-45F3-B258-D28217B63F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120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4E5FE3B5-46E9-4286-BE85-8A7EC5997A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C9528F3-543B-493C-9981-D2A9FA66EBE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B6DAD47-5B74-4C6A-ADBC-879B0FC806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AA01D26-3701-491E-B974-B79F5ACF2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latzhalter für eine Kapitelüberschrif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B1FA6C8-A56A-451E-86B4-A7BB078AA3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39999" y="2879999"/>
            <a:ext cx="1353576" cy="1354217"/>
          </a:xfrm>
        </p:spPr>
        <p:txBody>
          <a:bodyPr/>
          <a:lstStyle/>
          <a:p>
            <a:r>
              <a:rPr lang="de-DE" dirty="0"/>
              <a:t>2.1</a:t>
            </a:r>
          </a:p>
        </p:txBody>
      </p:sp>
    </p:spTree>
    <p:extLst>
      <p:ext uri="{BB962C8B-B14F-4D97-AF65-F5344CB8AC3E}">
        <p14:creationId xmlns:p14="http://schemas.microsoft.com/office/powerpoint/2010/main" val="14534242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CF16498-F0B8-4FB2-AE0F-DC77A7430D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3588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5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CF16498-F0B8-4FB2-AE0F-DC77A7430D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763201C-56F5-4672-AED9-FC4BFFDB7ED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A97BBB4-9E64-4FD2-9CAA-918D805A15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69D1C8F-2065-4306-9376-C382917EEC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2742C94-6AE0-405B-BB33-7FEA04DD90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aster/Definition Inhaltsfläch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DA70757-BF3C-4BAA-B725-0C37CCC6A18D}"/>
              </a:ext>
            </a:extLst>
          </p:cNvPr>
          <p:cNvSpPr/>
          <p:nvPr/>
        </p:nvSpPr>
        <p:spPr bwMode="gray">
          <a:xfrm>
            <a:off x="6564052" y="1844824"/>
            <a:ext cx="5292986" cy="2575064"/>
          </a:xfrm>
          <a:prstGeom prst="rect">
            <a:avLst/>
          </a:prstGeom>
          <a:solidFill>
            <a:schemeClr val="bg1"/>
          </a:solidFill>
          <a:ln w="6350">
            <a:solidFill>
              <a:srgbClr val="9A9A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t" anchorCtr="0">
            <a:spAutoFit/>
          </a:bodyPr>
          <a:lstStyle/>
          <a:p>
            <a:pPr marL="0" lvl="1" fontAlgn="base">
              <a:spcBef>
                <a:spcPts val="800"/>
              </a:spcBef>
              <a:buClr>
                <a:schemeClr val="accent2"/>
              </a:buClr>
              <a:buSzPct val="120000"/>
            </a:pPr>
            <a:r>
              <a:rPr lang="de-DE" sz="1400" b="1" dirty="0">
                <a:solidFill>
                  <a:schemeClr val="tx1"/>
                </a:solidFill>
              </a:rPr>
              <a:t>Ansicht</a:t>
            </a:r>
          </a:p>
          <a:p>
            <a:pPr marL="0" lvl="1" fontAlgn="base">
              <a:spcBef>
                <a:spcPts val="400"/>
              </a:spcBef>
              <a:buClr>
                <a:schemeClr val="accent2"/>
              </a:buClr>
              <a:buSzPct val="120000"/>
            </a:pPr>
            <a:r>
              <a:rPr lang="de-DE" sz="1200" dirty="0">
                <a:solidFill>
                  <a:schemeClr val="tx1"/>
                </a:solidFill>
              </a:rPr>
              <a:t>Sollten Sie in Ihrer Ansicht keine Führungslinien vorfinden, so können Sie </a:t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>
                <a:solidFill>
                  <a:schemeClr val="tx1"/>
                </a:solidFill>
              </a:rPr>
              <a:t>sich diese wie folgt anzeigen lassen: Rechte Maustaste, unter „Raster und Führungslinien“ den Punkt „Führungslinien“ markieren.</a:t>
            </a:r>
            <a:endParaRPr lang="de-DE" sz="1400" b="1" dirty="0">
              <a:solidFill>
                <a:schemeClr val="tx1"/>
              </a:solidFill>
            </a:endParaRPr>
          </a:p>
          <a:p>
            <a:pPr marL="0" lvl="1" fontAlgn="base">
              <a:spcBef>
                <a:spcPts val="800"/>
              </a:spcBef>
              <a:buClr>
                <a:schemeClr val="accent2"/>
              </a:buClr>
              <a:buSzPct val="120000"/>
            </a:pPr>
            <a:r>
              <a:rPr lang="de-DE" sz="1400" b="1" dirty="0">
                <a:solidFill>
                  <a:schemeClr val="tx1"/>
                </a:solidFill>
              </a:rPr>
              <a:t>Funktion</a:t>
            </a:r>
          </a:p>
          <a:p>
            <a:pPr marL="0" lvl="1" fontAlgn="base">
              <a:spcBef>
                <a:spcPts val="400"/>
              </a:spcBef>
              <a:buClr>
                <a:schemeClr val="accent2"/>
              </a:buClr>
              <a:buSzPct val="120000"/>
            </a:pPr>
            <a:r>
              <a:rPr lang="de-DE" sz="1200" dirty="0">
                <a:solidFill>
                  <a:schemeClr val="tx1"/>
                </a:solidFill>
              </a:rPr>
              <a:t>Führungslinien helfen bei der Positionierung von Objekten und markieren gleichzeitig den Bereich, indem Sie Ihre Inhalte unterbringen können. Die </a:t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>
                <a:solidFill>
                  <a:schemeClr val="tx1"/>
                </a:solidFill>
              </a:rPr>
              <a:t>äußeren vertikalen (1 und 4) und die horizontalen (5 und 6) Führungslinien markieren die Inhaltsfläche (grau). Einzufügende Objekte sollten nach </a:t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>
                <a:solidFill>
                  <a:schemeClr val="tx1"/>
                </a:solidFill>
              </a:rPr>
              <a:t>Möglichkeit innerhalb der Inhaltsfläche an mindestens einer Linie ansetzen. </a:t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>
                <a:solidFill>
                  <a:schemeClr val="tx1"/>
                </a:solidFill>
              </a:rPr>
              <a:t>Wenn Sie Layouts mit zwei Inhalten benutzen, richten Sie ihren Inhalt bitte </a:t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>
                <a:solidFill>
                  <a:schemeClr val="tx1"/>
                </a:solidFill>
              </a:rPr>
              <a:t>an den vertikalen Linien (2 und 3) aus.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95120E06-BFE1-4FB3-A86F-83270CC03778}"/>
              </a:ext>
            </a:extLst>
          </p:cNvPr>
          <p:cNvGrpSpPr/>
          <p:nvPr/>
        </p:nvGrpSpPr>
        <p:grpSpPr bwMode="gray">
          <a:xfrm>
            <a:off x="8148922" y="4581128"/>
            <a:ext cx="2293964" cy="1444128"/>
            <a:chOff x="6522777" y="4538808"/>
            <a:chExt cx="2297694" cy="1446476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156AB98A-ADC1-4F4A-8121-9667664D598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 bwMode="gray">
            <a:xfrm>
              <a:off x="6522777" y="4538808"/>
              <a:ext cx="2297694" cy="1446476"/>
            </a:xfrm>
            <a:prstGeom prst="rect">
              <a:avLst/>
            </a:prstGeom>
          </p:spPr>
        </p:pic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098F0A15-712F-4CBC-9864-4EA92C0F9809}"/>
                </a:ext>
              </a:extLst>
            </p:cNvPr>
            <p:cNvSpPr/>
            <p:nvPr/>
          </p:nvSpPr>
          <p:spPr bwMode="gray">
            <a:xfrm>
              <a:off x="6565850" y="4859888"/>
              <a:ext cx="1109352" cy="144000"/>
            </a:xfrm>
            <a:prstGeom prst="rect">
              <a:avLst/>
            </a:prstGeom>
            <a:noFill/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</a:pPr>
              <a:endParaRPr lang="de-DE" sz="1600" dirty="0" err="1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AB4328AA-53DA-4B64-8849-7197C89E1C77}"/>
                </a:ext>
              </a:extLst>
            </p:cNvPr>
            <p:cNvSpPr/>
            <p:nvPr/>
          </p:nvSpPr>
          <p:spPr bwMode="gray">
            <a:xfrm>
              <a:off x="6565850" y="5132122"/>
              <a:ext cx="1615813" cy="144000"/>
            </a:xfrm>
            <a:prstGeom prst="rect">
              <a:avLst/>
            </a:prstGeom>
            <a:noFill/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</a:pPr>
              <a:endParaRPr lang="de-DE" sz="1600" dirty="0" err="1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C954E66A-31DD-428B-890E-C2B3DF570EE4}"/>
                </a:ext>
              </a:extLst>
            </p:cNvPr>
            <p:cNvSpPr/>
            <p:nvPr/>
          </p:nvSpPr>
          <p:spPr bwMode="gray">
            <a:xfrm>
              <a:off x="6565850" y="5517127"/>
              <a:ext cx="2228900" cy="144000"/>
            </a:xfrm>
            <a:prstGeom prst="rect">
              <a:avLst/>
            </a:prstGeom>
            <a:noFill/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</a:pPr>
              <a:endParaRPr lang="de-DE" sz="1600" dirty="0" err="1"/>
            </a:p>
          </p:txBody>
        </p:sp>
      </p:grpSp>
      <p:sp>
        <p:nvSpPr>
          <p:cNvPr id="17" name="Rechteckige Legende 85">
            <a:extLst>
              <a:ext uri="{FF2B5EF4-FFF2-40B4-BE49-F238E27FC236}">
                <a16:creationId xmlns:a16="http://schemas.microsoft.com/office/drawing/2014/main" id="{9486B21E-369F-42EC-A81A-6836A82FDB91}"/>
              </a:ext>
            </a:extLst>
          </p:cNvPr>
          <p:cNvSpPr/>
          <p:nvPr/>
        </p:nvSpPr>
        <p:spPr bwMode="gray">
          <a:xfrm>
            <a:off x="6564746" y="4728577"/>
            <a:ext cx="1330905" cy="690857"/>
          </a:xfrm>
          <a:prstGeom prst="wedgeRectCallout">
            <a:avLst>
              <a:gd name="adj1" fmla="val 63833"/>
              <a:gd name="adj2" fmla="val -21805"/>
            </a:avLst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buClr>
                <a:schemeClr val="bg1"/>
              </a:buClr>
            </a:pPr>
            <a:r>
              <a:rPr lang="de-DE" sz="1400" dirty="0">
                <a:solidFill>
                  <a:schemeClr val="bg1"/>
                </a:solidFill>
              </a:rPr>
              <a:t>Hilfreiche Einstellung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F1549D12-B56D-4607-95C9-D0EF32D26EE0}"/>
              </a:ext>
            </a:extLst>
          </p:cNvPr>
          <p:cNvSpPr txBox="1"/>
          <p:nvPr/>
        </p:nvSpPr>
        <p:spPr bwMode="gray">
          <a:xfrm>
            <a:off x="5627949" y="2464842"/>
            <a:ext cx="35266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>
                <a:solidFill>
                  <a:srgbClr val="000000"/>
                </a:solidFill>
              </a:rPr>
              <a:t>16,00</a:t>
            </a:r>
          </a:p>
        </p:txBody>
      </p:sp>
      <p:sp>
        <p:nvSpPr>
          <p:cNvPr id="19" name="Rechteck 33">
            <a:extLst>
              <a:ext uri="{FF2B5EF4-FFF2-40B4-BE49-F238E27FC236}">
                <a16:creationId xmlns:a16="http://schemas.microsoft.com/office/drawing/2014/main" id="{38073355-8926-43E4-84B2-402FC3ED2481}"/>
              </a:ext>
            </a:extLst>
          </p:cNvPr>
          <p:cNvSpPr/>
          <p:nvPr/>
        </p:nvSpPr>
        <p:spPr bwMode="gray">
          <a:xfrm>
            <a:off x="3187593" y="1844823"/>
            <a:ext cx="329288" cy="3292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8" rIns="91414" bIns="45708" rtlCol="0" anchor="ctr" anchorCtr="0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0" name="Textfeld 34">
            <a:extLst>
              <a:ext uri="{FF2B5EF4-FFF2-40B4-BE49-F238E27FC236}">
                <a16:creationId xmlns:a16="http://schemas.microsoft.com/office/drawing/2014/main" id="{6BB627A3-CCC3-42D9-9856-BDFEE30C3C92}"/>
              </a:ext>
            </a:extLst>
          </p:cNvPr>
          <p:cNvSpPr txBox="1"/>
          <p:nvPr/>
        </p:nvSpPr>
        <p:spPr bwMode="gray">
          <a:xfrm>
            <a:off x="3781708" y="2464842"/>
            <a:ext cx="27411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200" dirty="0">
                <a:solidFill>
                  <a:srgbClr val="000000"/>
                </a:solidFill>
              </a:rPr>
              <a:t>1,30</a:t>
            </a:r>
          </a:p>
        </p:txBody>
      </p:sp>
      <p:sp>
        <p:nvSpPr>
          <p:cNvPr id="21" name="Textfeld 34">
            <a:extLst>
              <a:ext uri="{FF2B5EF4-FFF2-40B4-BE49-F238E27FC236}">
                <a16:creationId xmlns:a16="http://schemas.microsoft.com/office/drawing/2014/main" id="{FBF523BC-DCCB-40CD-9182-A5863361316F}"/>
              </a:ext>
            </a:extLst>
          </p:cNvPr>
          <p:cNvSpPr txBox="1"/>
          <p:nvPr/>
        </p:nvSpPr>
        <p:spPr bwMode="gray">
          <a:xfrm>
            <a:off x="3194836" y="2464842"/>
            <a:ext cx="27411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200" dirty="0">
                <a:solidFill>
                  <a:srgbClr val="000000"/>
                </a:solidFill>
              </a:rPr>
              <a:t>0,30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7425266A-5583-4564-B0A8-C9C35F1CFD5D}"/>
              </a:ext>
            </a:extLst>
          </p:cNvPr>
          <p:cNvCxnSpPr>
            <a:cxnSpLocks/>
          </p:cNvCxnSpPr>
          <p:nvPr/>
        </p:nvCxnSpPr>
        <p:spPr bwMode="gray">
          <a:xfrm>
            <a:off x="3352236" y="2174111"/>
            <a:ext cx="0" cy="239486"/>
          </a:xfrm>
          <a:prstGeom prst="straightConnector1">
            <a:avLst/>
          </a:prstGeom>
          <a:ln>
            <a:solidFill>
              <a:schemeClr val="accent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34">
            <a:extLst>
              <a:ext uri="{FF2B5EF4-FFF2-40B4-BE49-F238E27FC236}">
                <a16:creationId xmlns:a16="http://schemas.microsoft.com/office/drawing/2014/main" id="{31A82921-B9E7-4B82-9730-7F1C420DD369}"/>
              </a:ext>
            </a:extLst>
          </p:cNvPr>
          <p:cNvSpPr txBox="1"/>
          <p:nvPr/>
        </p:nvSpPr>
        <p:spPr bwMode="gray">
          <a:xfrm>
            <a:off x="1232618" y="2464842"/>
            <a:ext cx="355093" cy="1859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>
                <a:solidFill>
                  <a:srgbClr val="000000"/>
                </a:solidFill>
              </a:rPr>
              <a:t>15,00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48C43CBE-F908-456D-AE88-18F36804EA73}"/>
              </a:ext>
            </a:extLst>
          </p:cNvPr>
          <p:cNvSpPr txBox="1"/>
          <p:nvPr/>
        </p:nvSpPr>
        <p:spPr bwMode="gray">
          <a:xfrm>
            <a:off x="722044" y="3396779"/>
            <a:ext cx="276004" cy="1859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200" dirty="0">
                <a:solidFill>
                  <a:srgbClr val="000000"/>
                </a:solidFill>
              </a:rPr>
              <a:t>4,40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F2D732EC-4340-49F8-B9DF-4D3878AAE6A6}"/>
              </a:ext>
            </a:extLst>
          </p:cNvPr>
          <p:cNvSpPr txBox="1"/>
          <p:nvPr/>
        </p:nvSpPr>
        <p:spPr bwMode="gray">
          <a:xfrm>
            <a:off x="722044" y="5061898"/>
            <a:ext cx="276004" cy="1859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200" dirty="0">
                <a:solidFill>
                  <a:srgbClr val="000000"/>
                </a:solidFill>
              </a:rPr>
              <a:t>7,20</a:t>
            </a:r>
          </a:p>
        </p:txBody>
      </p:sp>
      <p:sp>
        <p:nvSpPr>
          <p:cNvPr id="26" name="Rechteck 33">
            <a:extLst>
              <a:ext uri="{FF2B5EF4-FFF2-40B4-BE49-F238E27FC236}">
                <a16:creationId xmlns:a16="http://schemas.microsoft.com/office/drawing/2014/main" id="{DCBEB16B-0B24-49B3-917B-519DED760F48}"/>
              </a:ext>
            </a:extLst>
          </p:cNvPr>
          <p:cNvSpPr/>
          <p:nvPr/>
        </p:nvSpPr>
        <p:spPr bwMode="gray">
          <a:xfrm>
            <a:off x="3733779" y="1844823"/>
            <a:ext cx="329288" cy="3292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8" rIns="91414" bIns="45708" rtlCol="0" anchor="ctr" anchorCtr="0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3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CC77306A-95E4-4EC1-A5B9-621998D4E8FE}"/>
              </a:ext>
            </a:extLst>
          </p:cNvPr>
          <p:cNvCxnSpPr>
            <a:cxnSpLocks/>
          </p:cNvCxnSpPr>
          <p:nvPr/>
        </p:nvCxnSpPr>
        <p:spPr bwMode="gray">
          <a:xfrm>
            <a:off x="3898422" y="2174111"/>
            <a:ext cx="0" cy="239486"/>
          </a:xfrm>
          <a:prstGeom prst="straightConnector1">
            <a:avLst/>
          </a:prstGeom>
          <a:ln>
            <a:solidFill>
              <a:schemeClr val="accent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33">
            <a:extLst>
              <a:ext uri="{FF2B5EF4-FFF2-40B4-BE49-F238E27FC236}">
                <a16:creationId xmlns:a16="http://schemas.microsoft.com/office/drawing/2014/main" id="{A656BC42-D6A9-4AB6-A4BD-5E9B5893DB16}"/>
              </a:ext>
            </a:extLst>
          </p:cNvPr>
          <p:cNvSpPr/>
          <p:nvPr/>
        </p:nvSpPr>
        <p:spPr bwMode="gray">
          <a:xfrm>
            <a:off x="1245520" y="1844823"/>
            <a:ext cx="329288" cy="3292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8" rIns="91414" bIns="45708" rtlCol="0" anchor="ctr" anchorCtr="0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1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822A8F12-68F7-4AF4-889D-B11C8A7D3F32}"/>
              </a:ext>
            </a:extLst>
          </p:cNvPr>
          <p:cNvCxnSpPr>
            <a:cxnSpLocks/>
          </p:cNvCxnSpPr>
          <p:nvPr/>
        </p:nvCxnSpPr>
        <p:spPr bwMode="gray">
          <a:xfrm>
            <a:off x="1410163" y="2174111"/>
            <a:ext cx="0" cy="239486"/>
          </a:xfrm>
          <a:prstGeom prst="straightConnector1">
            <a:avLst/>
          </a:prstGeom>
          <a:ln>
            <a:solidFill>
              <a:schemeClr val="accent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33">
            <a:extLst>
              <a:ext uri="{FF2B5EF4-FFF2-40B4-BE49-F238E27FC236}">
                <a16:creationId xmlns:a16="http://schemas.microsoft.com/office/drawing/2014/main" id="{731AEA4F-5D27-4C50-9B1B-1A3367301A28}"/>
              </a:ext>
            </a:extLst>
          </p:cNvPr>
          <p:cNvSpPr/>
          <p:nvPr/>
        </p:nvSpPr>
        <p:spPr bwMode="gray">
          <a:xfrm>
            <a:off x="5639635" y="1844823"/>
            <a:ext cx="329288" cy="3292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8" rIns="91414" bIns="45708" rtlCol="0" anchor="ctr" anchorCtr="0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4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08A466D3-A945-43F6-A118-1890A24FD935}"/>
              </a:ext>
            </a:extLst>
          </p:cNvPr>
          <p:cNvCxnSpPr>
            <a:cxnSpLocks/>
          </p:cNvCxnSpPr>
          <p:nvPr/>
        </p:nvCxnSpPr>
        <p:spPr bwMode="gray">
          <a:xfrm>
            <a:off x="5804279" y="2174111"/>
            <a:ext cx="0" cy="239486"/>
          </a:xfrm>
          <a:prstGeom prst="straightConnector1">
            <a:avLst/>
          </a:prstGeom>
          <a:ln>
            <a:solidFill>
              <a:schemeClr val="accent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3">
            <a:extLst>
              <a:ext uri="{FF2B5EF4-FFF2-40B4-BE49-F238E27FC236}">
                <a16:creationId xmlns:a16="http://schemas.microsoft.com/office/drawing/2014/main" id="{47DCA816-3F62-4325-87AF-06C08AE82CE0}"/>
              </a:ext>
            </a:extLst>
          </p:cNvPr>
          <p:cNvSpPr/>
          <p:nvPr/>
        </p:nvSpPr>
        <p:spPr bwMode="gray">
          <a:xfrm>
            <a:off x="695400" y="2776761"/>
            <a:ext cx="329288" cy="3292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8" rIns="91414" bIns="45708" rtlCol="0" anchor="ctr" anchorCtr="0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5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B68A5B0E-D969-42AB-8C3D-4652B091CA35}"/>
              </a:ext>
            </a:extLst>
          </p:cNvPr>
          <p:cNvCxnSpPr/>
          <p:nvPr/>
        </p:nvCxnSpPr>
        <p:spPr bwMode="gray">
          <a:xfrm>
            <a:off x="860046" y="3106050"/>
            <a:ext cx="0" cy="239486"/>
          </a:xfrm>
          <a:prstGeom prst="straightConnector1">
            <a:avLst/>
          </a:prstGeom>
          <a:ln>
            <a:solidFill>
              <a:schemeClr val="accent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C0EB8D2D-3DEA-48A2-AD03-782E37319B45}"/>
              </a:ext>
            </a:extLst>
          </p:cNvPr>
          <p:cNvCxnSpPr/>
          <p:nvPr/>
        </p:nvCxnSpPr>
        <p:spPr bwMode="gray">
          <a:xfrm>
            <a:off x="860046" y="4781052"/>
            <a:ext cx="0" cy="239486"/>
          </a:xfrm>
          <a:prstGeom prst="straightConnector1">
            <a:avLst/>
          </a:prstGeom>
          <a:ln>
            <a:solidFill>
              <a:schemeClr val="accent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B3014553-A6E3-4615-B3B7-48E1161C73DB}"/>
              </a:ext>
            </a:extLst>
          </p:cNvPr>
          <p:cNvGrpSpPr/>
          <p:nvPr/>
        </p:nvGrpSpPr>
        <p:grpSpPr>
          <a:xfrm>
            <a:off x="1142890" y="2747438"/>
            <a:ext cx="4845050" cy="2730500"/>
            <a:chOff x="1142890" y="2747438"/>
            <a:chExt cx="4845050" cy="2730500"/>
          </a:xfrm>
        </p:grpSpPr>
        <p:pic>
          <p:nvPicPr>
            <p:cNvPr id="46" name="Picture 2">
              <a:extLst>
                <a:ext uri="{FF2B5EF4-FFF2-40B4-BE49-F238E27FC236}">
                  <a16:creationId xmlns:a16="http://schemas.microsoft.com/office/drawing/2014/main" id="{778ADCD3-E11D-4758-B3CB-99B708B7DEC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142890" y="2747438"/>
              <a:ext cx="4845050" cy="273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FE72A98F-080C-4972-A350-C0C6324BA1D6}"/>
                </a:ext>
              </a:extLst>
            </p:cNvPr>
            <p:cNvGrpSpPr/>
            <p:nvPr/>
          </p:nvGrpSpPr>
          <p:grpSpPr>
            <a:xfrm>
              <a:off x="1142890" y="2747794"/>
              <a:ext cx="4844887" cy="2730144"/>
              <a:chOff x="1085055" y="2631091"/>
              <a:chExt cx="4218711" cy="2377287"/>
            </a:xfrm>
          </p:grpSpPr>
          <p:cxnSp>
            <p:nvCxnSpPr>
              <p:cNvPr id="37" name="Gerade Verbindung 25">
                <a:extLst>
                  <a:ext uri="{FF2B5EF4-FFF2-40B4-BE49-F238E27FC236}">
                    <a16:creationId xmlns:a16="http://schemas.microsoft.com/office/drawing/2014/main" id="{F7A2CFBD-DA15-45C0-B17F-0097F4C2B766}"/>
                  </a:ext>
                </a:extLst>
              </p:cNvPr>
              <p:cNvCxnSpPr/>
              <p:nvPr/>
            </p:nvCxnSpPr>
            <p:spPr bwMode="gray">
              <a:xfrm flipV="1">
                <a:off x="5187797" y="2631199"/>
                <a:ext cx="0" cy="2377179"/>
              </a:xfrm>
              <a:prstGeom prst="line">
                <a:avLst/>
              </a:prstGeom>
              <a:ln w="6350">
                <a:solidFill>
                  <a:schemeClr val="accent4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hteck 37">
                <a:extLst>
                  <a:ext uri="{FF2B5EF4-FFF2-40B4-BE49-F238E27FC236}">
                    <a16:creationId xmlns:a16="http://schemas.microsoft.com/office/drawing/2014/main" id="{67F0DF37-BC5C-4680-8293-CFAA821A531D}"/>
                  </a:ext>
                </a:extLst>
              </p:cNvPr>
              <p:cNvSpPr/>
              <p:nvPr/>
            </p:nvSpPr>
            <p:spPr bwMode="gray">
              <a:xfrm>
                <a:off x="1085446" y="2631091"/>
                <a:ext cx="4218320" cy="2377179"/>
              </a:xfrm>
              <a:prstGeom prst="rect">
                <a:avLst/>
              </a:prstGeom>
              <a:noFill/>
              <a:ln w="3175">
                <a:solidFill>
                  <a:srgbClr val="7777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 algn="ctr">
                  <a:spcBef>
                    <a:spcPts val="800"/>
                  </a:spcBef>
                  <a:buClr>
                    <a:schemeClr val="accent2"/>
                  </a:buClr>
                  <a:buFont typeface="Wingdings" panose="05000000000000000000" pitchFamily="2" charset="2"/>
                  <a:buChar char="§"/>
                </a:pPr>
                <a:endParaRPr lang="de-DE" sz="16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39" name="Gerade Verbindung 25">
                <a:extLst>
                  <a:ext uri="{FF2B5EF4-FFF2-40B4-BE49-F238E27FC236}">
                    <a16:creationId xmlns:a16="http://schemas.microsoft.com/office/drawing/2014/main" id="{7D798A64-87C8-42AE-AC0C-D94F5608CF58}"/>
                  </a:ext>
                </a:extLst>
              </p:cNvPr>
              <p:cNvCxnSpPr/>
              <p:nvPr/>
            </p:nvCxnSpPr>
            <p:spPr bwMode="gray">
              <a:xfrm flipV="1">
                <a:off x="3154900" y="2631199"/>
                <a:ext cx="0" cy="2377179"/>
              </a:xfrm>
              <a:prstGeom prst="line">
                <a:avLst/>
              </a:prstGeom>
              <a:ln w="6350">
                <a:solidFill>
                  <a:schemeClr val="accent4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25">
                <a:extLst>
                  <a:ext uri="{FF2B5EF4-FFF2-40B4-BE49-F238E27FC236}">
                    <a16:creationId xmlns:a16="http://schemas.microsoft.com/office/drawing/2014/main" id="{222390A5-A6C0-4F5F-8DBB-82C6D7995464}"/>
                  </a:ext>
                </a:extLst>
              </p:cNvPr>
              <p:cNvCxnSpPr/>
              <p:nvPr/>
            </p:nvCxnSpPr>
            <p:spPr bwMode="gray">
              <a:xfrm flipV="1">
                <a:off x="3352635" y="2631199"/>
                <a:ext cx="0" cy="2377179"/>
              </a:xfrm>
              <a:prstGeom prst="line">
                <a:avLst/>
              </a:prstGeom>
              <a:ln w="6350">
                <a:solidFill>
                  <a:schemeClr val="accent4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25">
                <a:extLst>
                  <a:ext uri="{FF2B5EF4-FFF2-40B4-BE49-F238E27FC236}">
                    <a16:creationId xmlns:a16="http://schemas.microsoft.com/office/drawing/2014/main" id="{6629359D-09A9-4506-8778-BB78FEDFEFE4}"/>
                  </a:ext>
                </a:extLst>
              </p:cNvPr>
              <p:cNvCxnSpPr/>
              <p:nvPr/>
            </p:nvCxnSpPr>
            <p:spPr bwMode="gray">
              <a:xfrm flipV="1">
                <a:off x="1315597" y="2631199"/>
                <a:ext cx="0" cy="2377179"/>
              </a:xfrm>
              <a:prstGeom prst="line">
                <a:avLst/>
              </a:prstGeom>
              <a:ln w="6350">
                <a:solidFill>
                  <a:schemeClr val="accent4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r Verbinder 41">
                <a:extLst>
                  <a:ext uri="{FF2B5EF4-FFF2-40B4-BE49-F238E27FC236}">
                    <a16:creationId xmlns:a16="http://schemas.microsoft.com/office/drawing/2014/main" id="{A0474E55-146C-406A-8B7A-E13993F45BC8}"/>
                  </a:ext>
                </a:extLst>
              </p:cNvPr>
              <p:cNvCxnSpPr/>
              <p:nvPr/>
            </p:nvCxnSpPr>
            <p:spPr bwMode="gray">
              <a:xfrm>
                <a:off x="1085055" y="3270413"/>
                <a:ext cx="4218320" cy="0"/>
              </a:xfrm>
              <a:prstGeom prst="line">
                <a:avLst/>
              </a:prstGeom>
              <a:ln w="6350">
                <a:solidFill>
                  <a:schemeClr val="accent4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r Verbinder 42">
                <a:extLst>
                  <a:ext uri="{FF2B5EF4-FFF2-40B4-BE49-F238E27FC236}">
                    <a16:creationId xmlns:a16="http://schemas.microsoft.com/office/drawing/2014/main" id="{B23727D3-3F6D-4946-A278-A594987C6CC4}"/>
                  </a:ext>
                </a:extLst>
              </p:cNvPr>
              <p:cNvCxnSpPr/>
              <p:nvPr/>
            </p:nvCxnSpPr>
            <p:spPr bwMode="gray">
              <a:xfrm>
                <a:off x="1085055" y="4715925"/>
                <a:ext cx="4218320" cy="0"/>
              </a:xfrm>
              <a:prstGeom prst="line">
                <a:avLst/>
              </a:prstGeom>
              <a:ln w="6350">
                <a:solidFill>
                  <a:schemeClr val="accent4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" name="Rechteck 33">
            <a:extLst>
              <a:ext uri="{FF2B5EF4-FFF2-40B4-BE49-F238E27FC236}">
                <a16:creationId xmlns:a16="http://schemas.microsoft.com/office/drawing/2014/main" id="{FF758734-66B2-4241-A976-BE71D3EF3EB4}"/>
              </a:ext>
            </a:extLst>
          </p:cNvPr>
          <p:cNvSpPr/>
          <p:nvPr/>
        </p:nvSpPr>
        <p:spPr bwMode="gray">
          <a:xfrm>
            <a:off x="695400" y="4480538"/>
            <a:ext cx="329288" cy="3292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8" rIns="91414" bIns="45708" rtlCol="0" anchor="ctr" anchorCtr="0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349299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700267A1-BF71-4184-8F0F-B2F4FD0BD3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2750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6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>
            <a:extLst>
              <a:ext uri="{FF2B5EF4-FFF2-40B4-BE49-F238E27FC236}">
                <a16:creationId xmlns:a16="http://schemas.microsoft.com/office/drawing/2014/main" id="{EECC3A17-B72C-479F-AE59-90EB4C4FF93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C75E63B-EA34-46C7-8CD0-97585D71EC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23868" y="6449956"/>
            <a:ext cx="6480000" cy="161583"/>
          </a:xfrm>
        </p:spPr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B0505C8-660B-4559-982F-0B0EA254A6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04920" y="6449956"/>
            <a:ext cx="288000" cy="161583"/>
          </a:xfrm>
        </p:spPr>
        <p:txBody>
          <a:bodyPr/>
          <a:lstStyle/>
          <a:p>
            <a:fld id="{1925EFE5-409A-4263-AA86-E37B8055B6A0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C06C404-6A10-4C23-AAE8-4FF7D1B0AE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6250" y="4365643"/>
            <a:ext cx="5399088" cy="784189"/>
          </a:xfrm>
        </p:spPr>
        <p:txBody>
          <a:bodyPr/>
          <a:lstStyle/>
          <a:p>
            <a:r>
              <a:rPr lang="de-DE" dirty="0"/>
              <a:t>Platzhalter für eine </a:t>
            </a:r>
            <a:br>
              <a:rPr lang="de-DE" dirty="0"/>
            </a:br>
            <a:r>
              <a:rPr lang="de-DE" dirty="0"/>
              <a:t>Kapitelüberschrift</a:t>
            </a:r>
          </a:p>
        </p:txBody>
      </p:sp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31B4A1C5-D6B3-4543-99B0-7430433D0B5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7"/>
          <a:srcRect l="-27185" t="-3838" r="-40244" b="-24305"/>
          <a:stretch/>
        </p:blipFill>
        <p:spPr>
          <a:xfrm>
            <a:off x="1741488" y="0"/>
            <a:ext cx="5087937" cy="3894138"/>
          </a:xfrm>
        </p:spPr>
      </p:pic>
    </p:spTree>
    <p:extLst>
      <p:ext uri="{BB962C8B-B14F-4D97-AF65-F5344CB8AC3E}">
        <p14:creationId xmlns:p14="http://schemas.microsoft.com/office/powerpoint/2010/main" val="5897730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F30F248-E2EC-42E0-BCB2-3802E943ED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8398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3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F2C9E8FB-25F4-4E5D-8E9C-806A461CAC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32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E4F76419-4E6D-4229-8AC9-CBAE7D8CBA9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8" y="0"/>
            <a:ext cx="7427580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279DE6-F556-4DE6-9534-CBDEF4D07EB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3420947-334D-4BE0-9DB0-CC62450C93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86F20F9-7B38-4C7C-8071-54E620C120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8274" y="2431849"/>
            <a:ext cx="3600000" cy="896271"/>
          </a:xfrm>
        </p:spPr>
        <p:txBody>
          <a:bodyPr/>
          <a:lstStyle/>
          <a:p>
            <a:r>
              <a:rPr lang="de-DE" dirty="0"/>
              <a:t>Platzhalter für ein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419973373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2FA8A36B-D8F9-412D-9B59-6CD65B9FF1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6092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8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5E926231-2494-4CE8-8A8A-1D9EA6242BD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32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8" name="Bildplatzhalter 7" descr="Ein Bild, das draußen, Gras, Person, Mann enthält.&#10;&#10;Automatisch generierte Beschreibung">
            <a:extLst>
              <a:ext uri="{FF2B5EF4-FFF2-40B4-BE49-F238E27FC236}">
                <a16:creationId xmlns:a16="http://schemas.microsoft.com/office/drawing/2014/main" id="{013B7910-76EA-4C4C-AFAB-23DD7670159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8" y="0"/>
            <a:ext cx="7427580" cy="6858000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8239F66-BF91-41A4-AB38-EE9C752EFA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FC274E9-BD3E-4851-AB53-843CB89954F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A1D4B2B-86F9-4A15-84E8-71574B2C37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8274" y="3391866"/>
            <a:ext cx="3600000" cy="896271"/>
          </a:xfrm>
        </p:spPr>
        <p:txBody>
          <a:bodyPr/>
          <a:lstStyle/>
          <a:p>
            <a:r>
              <a:rPr lang="de-DE" dirty="0"/>
              <a:t>Platzhalter für eine Kapitelüberschrift</a:t>
            </a:r>
          </a:p>
        </p:txBody>
      </p:sp>
      <p:pic>
        <p:nvPicPr>
          <p:cNvPr id="12" name="Bildplatzhalter 11" descr="Ein Bild, das Uhr, Computer, Verkehr enthält.&#10;&#10;Automatisch generierte Beschreibung">
            <a:extLst>
              <a:ext uri="{FF2B5EF4-FFF2-40B4-BE49-F238E27FC236}">
                <a16:creationId xmlns:a16="http://schemas.microsoft.com/office/drawing/2014/main" id="{69184DD5-D1A2-4484-B538-9D329866281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8"/>
          <a:srcRect t="136" b="13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9597138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746A2594-6FD9-4DCD-A448-5ACE36772B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8220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6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68CCAD99-9464-4715-BE82-A48356210E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32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F3865EB-BA36-488A-96F8-325202339DF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23868" y="6449956"/>
            <a:ext cx="6480000" cy="161583"/>
          </a:xfrm>
        </p:spPr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8A076DE-38A9-43DA-856C-585F5E44D58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04920" y="6449956"/>
            <a:ext cx="288000" cy="161583"/>
          </a:xfrm>
        </p:spPr>
        <p:txBody>
          <a:bodyPr/>
          <a:lstStyle/>
          <a:p>
            <a:fld id="{1925EFE5-409A-4263-AA86-E37B8055B6A0}" type="slidenum">
              <a:rPr lang="de-DE" smtClean="0"/>
              <a:pPr/>
              <a:t>23</a:t>
            </a:fld>
            <a:endParaRPr lang="de-DE" dirty="0"/>
          </a:p>
        </p:txBody>
      </p:sp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A803F7AA-E033-4BFD-AAAC-6E8CB473D62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6000" y="719981"/>
            <a:ext cx="4320000" cy="4320000"/>
          </a:xfrm>
        </p:spPr>
      </p:pic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1BD53617-57F1-4979-872D-A841966304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4C73CFB-69B9-40E7-9B45-9AE6C6742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001" y="2012168"/>
            <a:ext cx="3600000" cy="896271"/>
          </a:xfrm>
        </p:spPr>
        <p:txBody>
          <a:bodyPr/>
          <a:lstStyle/>
          <a:p>
            <a:r>
              <a:rPr lang="de-DE" dirty="0"/>
              <a:t>„Tut jeder in seinem</a:t>
            </a:r>
            <a:br>
              <a:rPr lang="de-DE" dirty="0"/>
            </a:br>
            <a:r>
              <a:rPr lang="de-DE" dirty="0"/>
              <a:t>  Kreis das Beste, </a:t>
            </a:r>
            <a:br>
              <a:rPr lang="de-DE" dirty="0"/>
            </a:br>
            <a:r>
              <a:rPr lang="de-DE" dirty="0"/>
              <a:t>  wird es bald in der</a:t>
            </a:r>
            <a:br>
              <a:rPr lang="de-DE" dirty="0"/>
            </a:br>
            <a:r>
              <a:rPr lang="de-DE" dirty="0"/>
              <a:t>  Welt auch besser</a:t>
            </a:r>
            <a:br>
              <a:rPr lang="de-DE" dirty="0"/>
            </a:br>
            <a:r>
              <a:rPr lang="de-DE" dirty="0"/>
              <a:t>  aussehen.“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36DF06F-7CB8-4F46-8DC7-0384AD24B4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852864" y="3891756"/>
            <a:ext cx="2871428" cy="276999"/>
          </a:xfrm>
        </p:spPr>
        <p:txBody>
          <a:bodyPr/>
          <a:lstStyle/>
          <a:p>
            <a:r>
              <a:rPr lang="de-DE" dirty="0"/>
              <a:t>Adolph Kolping</a:t>
            </a:r>
          </a:p>
        </p:txBody>
      </p:sp>
    </p:spTree>
    <p:extLst>
      <p:ext uri="{BB962C8B-B14F-4D97-AF65-F5344CB8AC3E}">
        <p14:creationId xmlns:p14="http://schemas.microsoft.com/office/powerpoint/2010/main" val="4393644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5D66F0B-CE35-40D8-8659-E860EFC0C7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1082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3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8388443-B206-4701-AB9F-D70856376C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2F527D-01B3-46EE-A8AB-BD1181CE66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A771327-4241-4A08-A88E-933BCB1FCD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795CA0A-D8BC-4711-9FF8-2300911497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ste Textebene: Subheadline</a:t>
            </a:r>
          </a:p>
          <a:p>
            <a:pPr lvl="1"/>
            <a:r>
              <a:rPr lang="de-DE" dirty="0"/>
              <a:t>Zweite Textebene: Einleitungstext</a:t>
            </a:r>
          </a:p>
          <a:p>
            <a:pPr lvl="2"/>
            <a:r>
              <a:rPr lang="de-DE" dirty="0"/>
              <a:t>Dritte Textebene: Erste Aufzählungsebene</a:t>
            </a:r>
          </a:p>
          <a:p>
            <a:pPr lvl="3"/>
            <a:r>
              <a:rPr lang="de-DE" dirty="0"/>
              <a:t>Vierte Textebene: Zweite Aufzählungsebene</a:t>
            </a:r>
          </a:p>
          <a:p>
            <a:pPr lvl="4"/>
            <a:r>
              <a:rPr lang="de-DE" dirty="0"/>
              <a:t>Fünfte Textebene: Dritte Aufzählungsebe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F573E6E-956E-4835-9AD7-D24D672E3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latzhalter für den Folientitel</a:t>
            </a:r>
          </a:p>
        </p:txBody>
      </p:sp>
    </p:spTree>
    <p:extLst>
      <p:ext uri="{BB962C8B-B14F-4D97-AF65-F5344CB8AC3E}">
        <p14:creationId xmlns:p14="http://schemas.microsoft.com/office/powerpoint/2010/main" val="17686424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5169F47-3BDA-422B-9C3A-BF1D75233C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2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5169F47-3BDA-422B-9C3A-BF1D75233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DD8394AE-923E-4B89-8DC7-ED1EB47B2D0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F96DEA1-5C91-43C9-B8F1-8677810EB2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47D44E4-557A-4999-9821-EB77C4BBB1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39C5E70-1636-4FCB-8AFC-71B3174809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ste Textebene: Subheadline</a:t>
            </a:r>
          </a:p>
          <a:p>
            <a:pPr lvl="1"/>
            <a:r>
              <a:rPr lang="de-DE" dirty="0"/>
              <a:t>Zweite Textebene: Einleitungstext</a:t>
            </a:r>
          </a:p>
          <a:p>
            <a:pPr lvl="2"/>
            <a:r>
              <a:rPr lang="de-DE" dirty="0"/>
              <a:t>Dritte Textebene: Erste Aufzählungsebene</a:t>
            </a:r>
          </a:p>
          <a:p>
            <a:pPr lvl="3"/>
            <a:r>
              <a:rPr lang="de-DE" dirty="0"/>
              <a:t>Vierte Textebene: Zweite Aufzählungsebene</a:t>
            </a:r>
          </a:p>
          <a:p>
            <a:pPr lvl="4"/>
            <a:r>
              <a:rPr lang="de-DE" dirty="0"/>
              <a:t>Fünfte Textebene: Dritte Aufzählungs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C3226B5-3E43-408F-9B64-9268E080E8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latzhalter für den Folientitel</a:t>
            </a:r>
          </a:p>
        </p:txBody>
      </p:sp>
      <p:pic>
        <p:nvPicPr>
          <p:cNvPr id="9" name="Bildplatzhalter 9">
            <a:extLst>
              <a:ext uri="{FF2B5EF4-FFF2-40B4-BE49-F238E27FC236}">
                <a16:creationId xmlns:a16="http://schemas.microsoft.com/office/drawing/2014/main" id="{441FFEE9-E46C-405F-90DA-A1BAC49FA78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427" b="17427"/>
          <a:stretch/>
        </p:blipFill>
        <p:spPr bwMode="gray">
          <a:xfrm>
            <a:off x="8616950" y="1844675"/>
            <a:ext cx="3240088" cy="3167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10293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F37F736-14D1-46D2-8D0B-E555A78647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4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F37F736-14D1-46D2-8D0B-E555A78647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2CB235FA-F738-4FE0-B2C3-59F2677B0E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A29BD7E-0340-4EE7-8CFE-EAB2052EDD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5EC82B9-9C9B-4003-8F9F-57EF2077F3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62A295B-F8C9-4702-A355-6E9B2B2633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73025" lvl="1" indent="-73025"/>
            <a:r>
              <a:rPr lang="de-DE" sz="2000" dirty="0"/>
              <a:t>„Wir stellen uns gewöhnlich an, als ob die gute Zeit  </a:t>
            </a:r>
            <a:br>
              <a:rPr lang="de-DE" sz="2000" dirty="0"/>
            </a:br>
            <a:r>
              <a:rPr lang="de-DE" sz="2000" dirty="0"/>
              <a:t>und das Glück mit seiner Seligkeit wie der Tau oder </a:t>
            </a:r>
            <a:br>
              <a:rPr lang="de-DE" sz="2000" dirty="0"/>
            </a:br>
            <a:r>
              <a:rPr lang="de-DE" sz="2000" dirty="0"/>
              <a:t>der Regen vom Himmel herab uns auf die Köpfe </a:t>
            </a:r>
            <a:br>
              <a:rPr lang="de-DE" sz="2000" dirty="0"/>
            </a:br>
            <a:r>
              <a:rPr lang="de-DE" sz="2000" dirty="0"/>
              <a:t>fallen müsse oder wie einst den Israeliten das </a:t>
            </a:r>
            <a:br>
              <a:rPr lang="de-DE" sz="2000" dirty="0"/>
            </a:br>
            <a:r>
              <a:rPr lang="de-DE" sz="2000" dirty="0"/>
              <a:t>Manna vom Himmel </a:t>
            </a:r>
            <a:r>
              <a:rPr lang="de-DE" sz="2000" dirty="0" err="1"/>
              <a:t>ﬁel</a:t>
            </a:r>
            <a:r>
              <a:rPr lang="de-DE" sz="2000" dirty="0"/>
              <a:t>, so </a:t>
            </a:r>
            <a:r>
              <a:rPr lang="de-DE" sz="2000" dirty="0" err="1"/>
              <a:t>daß</a:t>
            </a:r>
            <a:r>
              <a:rPr lang="de-DE" sz="2000" dirty="0"/>
              <a:t> wir nur die </a:t>
            </a:r>
            <a:br>
              <a:rPr lang="de-DE" sz="2000" dirty="0"/>
            </a:br>
            <a:r>
              <a:rPr lang="de-DE" sz="2000" dirty="0"/>
              <a:t>Schürze aufzuhalten hätten, um es aufzufangen.“</a:t>
            </a:r>
          </a:p>
          <a:p>
            <a:pPr marL="73025" lvl="1" indent="-73025"/>
            <a:endParaRPr lang="de-DE" sz="2000" dirty="0"/>
          </a:p>
          <a:p>
            <a:pPr marL="73025" lvl="1" indent="-73025" algn="r"/>
            <a:r>
              <a:rPr lang="de-DE" sz="1400" b="1" dirty="0"/>
              <a:t>Adolph Kolping	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82A9ADA-0A73-4AA2-BE33-897A0FFA7B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746" y="123360"/>
            <a:ext cx="6336000" cy="380104"/>
          </a:xfrm>
        </p:spPr>
        <p:txBody>
          <a:bodyPr/>
          <a:lstStyle/>
          <a:p>
            <a:r>
              <a:rPr lang="de-DE" dirty="0"/>
              <a:t>Platzhalter für den Folientitel</a:t>
            </a:r>
          </a:p>
        </p:txBody>
      </p:sp>
      <p:pic>
        <p:nvPicPr>
          <p:cNvPr id="11" name="Bildplatzhalter 10" descr="Ein Bild, das Wasser, Sport, surfend, Ozean enthält.&#10;&#10;Automatisch generierte Beschreibung">
            <a:extLst>
              <a:ext uri="{FF2B5EF4-FFF2-40B4-BE49-F238E27FC236}">
                <a16:creationId xmlns:a16="http://schemas.microsoft.com/office/drawing/2014/main" id="{7C483748-14D0-441F-8312-57E0A967DC9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7"/>
          <a:srcRect l="502" r="50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9468937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AA9344C5-EA7A-486F-8D51-384375B090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2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AA9344C5-EA7A-486F-8D51-384375B090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005FCEEB-2A8C-4744-804E-DCFA88C498C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Bildplatzhalter 9" descr="Ein Bild, das Person, sitzend, drinnen, Personen enthält.&#10;&#10;Automatisch generierte Beschreibung">
            <a:extLst>
              <a:ext uri="{FF2B5EF4-FFF2-40B4-BE49-F238E27FC236}">
                <a16:creationId xmlns:a16="http://schemas.microsoft.com/office/drawing/2014/main" id="{293B0213-F050-483D-88F9-87243D880E3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7"/>
          <a:srcRect l="3743" r="3743"/>
          <a:stretch>
            <a:fillRect/>
          </a:stretch>
        </p:blipFill>
        <p:spPr/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3544153-5E0E-4FB2-921A-3F543C77421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805F80-6D2A-4D47-AA40-C521D0955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73B3F56-5AC4-462B-AEAC-ED76BF105A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ste Textebene: Subheadline</a:t>
            </a:r>
          </a:p>
          <a:p>
            <a:pPr lvl="1"/>
            <a:r>
              <a:rPr lang="de-DE" dirty="0"/>
              <a:t>Einleitungstext</a:t>
            </a:r>
          </a:p>
          <a:p>
            <a:pPr lvl="2"/>
            <a:r>
              <a:rPr lang="de-DE" dirty="0"/>
              <a:t>Erste Aufzählungsebene</a:t>
            </a:r>
          </a:p>
          <a:p>
            <a:pPr lvl="3"/>
            <a:r>
              <a:rPr lang="de-DE" dirty="0"/>
              <a:t>Zweite Aufzählungsebene</a:t>
            </a:r>
          </a:p>
          <a:p>
            <a:pPr lvl="4"/>
            <a:r>
              <a:rPr lang="de-DE" dirty="0"/>
              <a:t>Dritte Aufzählungsebene</a:t>
            </a:r>
          </a:p>
        </p:txBody>
      </p:sp>
      <p:pic>
        <p:nvPicPr>
          <p:cNvPr id="14" name="Bildplatzhalter 13" descr="Ein Bild, das draußen, Gras, Person, Mann enthält.&#10;&#10;Automatisch generierte Beschreibung">
            <a:extLst>
              <a:ext uri="{FF2B5EF4-FFF2-40B4-BE49-F238E27FC236}">
                <a16:creationId xmlns:a16="http://schemas.microsoft.com/office/drawing/2014/main" id="{D21BFCCC-B02E-4D77-A516-E2583248735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8"/>
          <a:srcRect t="23155" b="31145"/>
          <a:stretch/>
        </p:blipFill>
        <p:spPr>
          <a:xfrm>
            <a:off x="8183768" y="1844825"/>
            <a:ext cx="3672000" cy="2518290"/>
          </a:xfr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AA32CEF-7B39-493A-B39A-465D2D59D0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352FC18-E5AF-4975-9A76-0916F2A845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latzhalter für den Folientitel</a:t>
            </a:r>
          </a:p>
        </p:txBody>
      </p:sp>
    </p:spTree>
    <p:extLst>
      <p:ext uri="{BB962C8B-B14F-4D97-AF65-F5344CB8AC3E}">
        <p14:creationId xmlns:p14="http://schemas.microsoft.com/office/powerpoint/2010/main" val="21655037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42D52A1D-F46E-479A-926E-36B497ED6F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4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42D52A1D-F46E-479A-926E-36B497ED6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87051595-BD6D-4D0E-BCA8-17CE36AB37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8F415FD-97FB-476D-9147-3E703C911C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3F9140C-EBCC-415D-B258-2A924C82C1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3C5341B-8F8C-47B8-9F50-531F404EB2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2"/>
            <a:r>
              <a:rPr lang="de-DE" dirty="0"/>
              <a:t>Wir laden ein und machen Mut zur Gemeinschaft.</a:t>
            </a:r>
          </a:p>
          <a:p>
            <a:pPr lvl="2"/>
            <a:r>
              <a:rPr lang="de-DE" dirty="0"/>
              <a:t>Wir handeln im Auftrag Jesu Christi.</a:t>
            </a:r>
          </a:p>
          <a:p>
            <a:pPr lvl="2"/>
            <a:r>
              <a:rPr lang="de-DE" dirty="0"/>
              <a:t>Wir nehmen uns Adolph Kolping zum Vorbild.</a:t>
            </a:r>
          </a:p>
          <a:p>
            <a:pPr lvl="2"/>
            <a:r>
              <a:rPr lang="de-DE" dirty="0"/>
              <a:t>Wir sind in der Kirche zu Hause.</a:t>
            </a:r>
          </a:p>
          <a:p>
            <a:pPr lvl="2"/>
            <a:r>
              <a:rPr lang="de-DE" dirty="0"/>
              <a:t>Wir sind eine </a:t>
            </a:r>
            <a:r>
              <a:rPr lang="de-DE" dirty="0" err="1"/>
              <a:t>generationenübergreifende</a:t>
            </a:r>
            <a:r>
              <a:rPr lang="de-DE" dirty="0"/>
              <a:t> familienhafte Gemeinschaft.</a:t>
            </a:r>
          </a:p>
          <a:p>
            <a:pPr lvl="2"/>
            <a:r>
              <a:rPr lang="de-DE" dirty="0"/>
              <a:t>Wir prägen als katholischer Sozialverband die Gesellschaft mit.</a:t>
            </a:r>
          </a:p>
          <a:p>
            <a:pPr lvl="2"/>
            <a:r>
              <a:rPr lang="de-DE" dirty="0"/>
              <a:t>Wir begleiten Menschen in ihrer persönlichen und beruflichen Bildung.</a:t>
            </a:r>
          </a:p>
          <a:p>
            <a:pPr lvl="2"/>
            <a:r>
              <a:rPr lang="de-DE" dirty="0"/>
              <a:t>Wir eröffnen Perspektiven </a:t>
            </a:r>
            <a:r>
              <a:rPr lang="de-DE" dirty="0" err="1"/>
              <a:t>für</a:t>
            </a:r>
            <a:r>
              <a:rPr lang="de-DE" dirty="0"/>
              <a:t> junge Menschen.</a:t>
            </a:r>
          </a:p>
          <a:p>
            <a:pPr lvl="2"/>
            <a:r>
              <a:rPr lang="de-DE" dirty="0"/>
              <a:t>Wir vertreten ein christliches Arbeitsverständnis.</a:t>
            </a:r>
          </a:p>
          <a:p>
            <a:pPr lvl="2"/>
            <a:r>
              <a:rPr lang="de-DE" dirty="0"/>
              <a:t>Wir verstehen uns als Anwalt </a:t>
            </a:r>
            <a:r>
              <a:rPr lang="de-DE" dirty="0" err="1"/>
              <a:t>für</a:t>
            </a:r>
            <a:r>
              <a:rPr lang="de-DE" dirty="0"/>
              <a:t> Familie.</a:t>
            </a:r>
          </a:p>
          <a:p>
            <a:pPr lvl="2"/>
            <a:r>
              <a:rPr lang="de-DE" dirty="0"/>
              <a:t>Wir spannen ein weltweites Netz der Partnerschaft.</a:t>
            </a:r>
          </a:p>
          <a:p>
            <a:pPr lvl="2"/>
            <a:r>
              <a:rPr lang="de-DE" dirty="0"/>
              <a:t>Wir leben verantwortlich und handeln solidarisch.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A5B0DDDA-62F1-4448-9138-110BF1330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lping in 12 Sätze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FFD49CDE-BACE-4FC6-B7EC-F5106A7C343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9589" y="1510222"/>
            <a:ext cx="3704476" cy="3674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18826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82D4EA07-017E-4CFE-8E80-04939F566C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106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7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82D4EA07-017E-4CFE-8E80-04939F566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C3A65A57-8A40-40DF-80F9-37A027195E5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933BA48-7EA4-4798-AFA8-5AEB96A5BA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587B9DE-46C1-4EEE-AE94-5432BEB3C3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29</a:t>
            </a:fld>
            <a:endParaRPr lang="de-DE" dirty="0"/>
          </a:p>
        </p:txBody>
      </p:sp>
      <p:graphicFrame>
        <p:nvGraphicFramePr>
          <p:cNvPr id="10" name="Diagrammplatzhalter 11">
            <a:extLst>
              <a:ext uri="{FF2B5EF4-FFF2-40B4-BE49-F238E27FC236}">
                <a16:creationId xmlns:a16="http://schemas.microsoft.com/office/drawing/2014/main" id="{FCD55292-F57A-445B-B464-EFC8754B5A57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695325" y="2457450"/>
          <a:ext cx="11160125" cy="3382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188E5EA-D3A4-49D8-A4DE-78296567180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Platzhalter für die Werteinhei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E97C419-1A2C-49B3-B265-5684632B4F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325" y="5897215"/>
            <a:ext cx="11160000" cy="124073"/>
          </a:xfrm>
        </p:spPr>
        <p:txBody>
          <a:bodyPr/>
          <a:lstStyle/>
          <a:p>
            <a:r>
              <a:rPr lang="de-DE" dirty="0"/>
              <a:t>Platzhalter für eine Quellenangab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5173197-054A-4427-B842-D61936163C4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Platzhalter für den Diagrammtit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D611A852-1C48-4282-82D4-12460893CA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lientitel </a:t>
            </a:r>
            <a:r>
              <a:rPr lang="de-DE" b="0" dirty="0"/>
              <a:t>(Säulendiagramm)</a:t>
            </a:r>
          </a:p>
        </p:txBody>
      </p:sp>
    </p:spTree>
    <p:extLst>
      <p:ext uri="{BB962C8B-B14F-4D97-AF65-F5344CB8AC3E}">
        <p14:creationId xmlns:p14="http://schemas.microsoft.com/office/powerpoint/2010/main" val="27787346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CF16498-F0B8-4FB2-AE0F-DC77A7430D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2029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0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CF16498-F0B8-4FB2-AE0F-DC77A7430D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763201C-56F5-4672-AED9-FC4BFFDB7ED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45" name="Grafik 44">
            <a:extLst>
              <a:ext uri="{FF2B5EF4-FFF2-40B4-BE49-F238E27FC236}">
                <a16:creationId xmlns:a16="http://schemas.microsoft.com/office/drawing/2014/main" id="{89AD0344-0DE1-48DC-B8B4-CACE1F6C735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/>
          <a:stretch/>
        </p:blipFill>
        <p:spPr bwMode="gray">
          <a:xfrm>
            <a:off x="5435533" y="3497854"/>
            <a:ext cx="1680900" cy="1875361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A97BBB4-9E64-4FD2-9CAA-918D805A15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69D1C8F-2065-4306-9376-C382917EEC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2742C94-6AE0-405B-BB33-7FEA04DD90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werPoint Farben</a:t>
            </a:r>
          </a:p>
        </p:txBody>
      </p:sp>
      <p:sp>
        <p:nvSpPr>
          <p:cNvPr id="47" name="Rectangle 7">
            <a:extLst>
              <a:ext uri="{FF2B5EF4-FFF2-40B4-BE49-F238E27FC236}">
                <a16:creationId xmlns:a16="http://schemas.microsoft.com/office/drawing/2014/main" id="{714CCADE-73FC-41A4-8575-B1096C73DD00}"/>
              </a:ext>
            </a:extLst>
          </p:cNvPr>
          <p:cNvSpPr>
            <a:spLocks noChangeArrowheads="1"/>
          </p:cNvSpPr>
          <p:nvPr/>
        </p:nvSpPr>
        <p:spPr bwMode="gray">
          <a:xfrm>
            <a:off x="9192269" y="2195863"/>
            <a:ext cx="2664296" cy="28800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>
            <a:lvl1pPr>
              <a:spcBef>
                <a:spcPct val="100000"/>
              </a:spcBef>
              <a:buFont typeface="Arial" charset="0"/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50000"/>
              </a:spcBef>
              <a:buClr>
                <a:srgbClr val="D50018"/>
              </a:buClr>
              <a:buSzPct val="120000"/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</a:defRPr>
            </a:lvl2pPr>
            <a:lvl3pPr indent="-269875">
              <a:spcBef>
                <a:spcPct val="50000"/>
              </a:spcBef>
              <a:buClr>
                <a:schemeClr val="accent2"/>
              </a:buClr>
              <a:buSzPct val="12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indent="-271463"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indent="-269875"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indent="-269875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indent="-269875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indent="-269875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indent="-269875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buClr>
                <a:schemeClr val="accent2"/>
              </a:buClr>
              <a:buSzPct val="120000"/>
              <a:buFont typeface="Wingdings" pitchFamily="2" charset="2"/>
              <a:buNone/>
            </a:pPr>
            <a:r>
              <a:rPr lang="de-DE" altLang="de-DE" sz="1200" b="0" dirty="0">
                <a:solidFill>
                  <a:schemeClr val="bg1"/>
                </a:solidFill>
                <a:latin typeface="+mj-lt"/>
              </a:rPr>
              <a:t>116 | 5 | 111</a:t>
            </a:r>
          </a:p>
        </p:txBody>
      </p:sp>
      <p:sp>
        <p:nvSpPr>
          <p:cNvPr id="49" name="Rectangle 8">
            <a:extLst>
              <a:ext uri="{FF2B5EF4-FFF2-40B4-BE49-F238E27FC236}">
                <a16:creationId xmlns:a16="http://schemas.microsoft.com/office/drawing/2014/main" id="{2B1FBCE7-B03E-48DA-B0A6-A7AC0FFCE2E4}"/>
              </a:ext>
            </a:extLst>
          </p:cNvPr>
          <p:cNvSpPr>
            <a:spLocks noChangeArrowheads="1"/>
          </p:cNvSpPr>
          <p:nvPr/>
        </p:nvSpPr>
        <p:spPr bwMode="gray">
          <a:xfrm>
            <a:off x="9192269" y="2546894"/>
            <a:ext cx="2664296" cy="288000"/>
          </a:xfrm>
          <a:prstGeom prst="rect">
            <a:avLst/>
          </a:prstGeom>
          <a:solidFill>
            <a:schemeClr val="accent3"/>
          </a:solidFill>
          <a:ln w="3175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  <a:buClr>
                <a:schemeClr val="accent2"/>
              </a:buClr>
              <a:buSzPct val="120000"/>
              <a:buFont typeface="Wingdings" pitchFamily="2" charset="2"/>
              <a:buNone/>
              <a:defRPr/>
            </a:pPr>
            <a:r>
              <a:rPr lang="de-DE" sz="1200" dirty="0">
                <a:solidFill>
                  <a:schemeClr val="bg1"/>
                </a:solidFill>
                <a:latin typeface="+mj-lt"/>
              </a:rPr>
              <a:t>29 | 114 | 138</a:t>
            </a:r>
          </a:p>
        </p:txBody>
      </p:sp>
      <p:sp>
        <p:nvSpPr>
          <p:cNvPr id="50" name="Rectangle 9">
            <a:extLst>
              <a:ext uri="{FF2B5EF4-FFF2-40B4-BE49-F238E27FC236}">
                <a16:creationId xmlns:a16="http://schemas.microsoft.com/office/drawing/2014/main" id="{EBB6A21B-556A-44EC-8C47-F1ECD8286BAA}"/>
              </a:ext>
            </a:extLst>
          </p:cNvPr>
          <p:cNvSpPr>
            <a:spLocks noChangeArrowheads="1"/>
          </p:cNvSpPr>
          <p:nvPr/>
        </p:nvSpPr>
        <p:spPr bwMode="gray">
          <a:xfrm>
            <a:off x="9192269" y="2897925"/>
            <a:ext cx="2664296" cy="288000"/>
          </a:xfrm>
          <a:prstGeom prst="rect">
            <a:avLst/>
          </a:prstGeom>
          <a:solidFill>
            <a:schemeClr val="accent4"/>
          </a:solidFill>
          <a:ln w="3175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  <a:buClr>
                <a:schemeClr val="accent2"/>
              </a:buClr>
              <a:buSzPct val="120000"/>
              <a:buFont typeface="Wingdings" pitchFamily="2" charset="2"/>
              <a:buNone/>
              <a:defRPr/>
            </a:pPr>
            <a:r>
              <a:rPr lang="de-DE" sz="1200" dirty="0">
                <a:solidFill>
                  <a:schemeClr val="bg1"/>
                </a:solidFill>
                <a:latin typeface="+mj-lt"/>
              </a:rPr>
              <a:t>155 | 6 | 135</a:t>
            </a:r>
          </a:p>
        </p:txBody>
      </p:sp>
      <p:sp>
        <p:nvSpPr>
          <p:cNvPr id="51" name="Rectangle 10">
            <a:extLst>
              <a:ext uri="{FF2B5EF4-FFF2-40B4-BE49-F238E27FC236}">
                <a16:creationId xmlns:a16="http://schemas.microsoft.com/office/drawing/2014/main" id="{755FA52D-5407-43D3-9624-8A3112F3CA2B}"/>
              </a:ext>
            </a:extLst>
          </p:cNvPr>
          <p:cNvSpPr>
            <a:spLocks noChangeArrowheads="1"/>
          </p:cNvSpPr>
          <p:nvPr/>
        </p:nvSpPr>
        <p:spPr bwMode="gray">
          <a:xfrm>
            <a:off x="9192269" y="3248956"/>
            <a:ext cx="2664296" cy="288000"/>
          </a:xfrm>
          <a:prstGeom prst="rect">
            <a:avLst/>
          </a:prstGeom>
          <a:solidFill>
            <a:schemeClr val="accent5"/>
          </a:solidFill>
          <a:ln w="3175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  <a:buClr>
                <a:schemeClr val="accent2"/>
              </a:buClr>
              <a:buSzPct val="120000"/>
              <a:buFont typeface="Wingdings" pitchFamily="2" charset="2"/>
              <a:buNone/>
              <a:defRPr/>
            </a:pPr>
            <a:r>
              <a:rPr lang="de-DE" sz="1200" dirty="0">
                <a:solidFill>
                  <a:schemeClr val="bg1"/>
                </a:solidFill>
                <a:latin typeface="+mj-lt"/>
              </a:rPr>
              <a:t>65 | 160 | 160</a:t>
            </a:r>
          </a:p>
        </p:txBody>
      </p:sp>
      <p:sp>
        <p:nvSpPr>
          <p:cNvPr id="52" name="Rectangle 10">
            <a:extLst>
              <a:ext uri="{FF2B5EF4-FFF2-40B4-BE49-F238E27FC236}">
                <a16:creationId xmlns:a16="http://schemas.microsoft.com/office/drawing/2014/main" id="{688EDF58-6358-414D-97E0-28859B9C939D}"/>
              </a:ext>
            </a:extLst>
          </p:cNvPr>
          <p:cNvSpPr>
            <a:spLocks noChangeArrowheads="1"/>
          </p:cNvSpPr>
          <p:nvPr/>
        </p:nvSpPr>
        <p:spPr bwMode="gray">
          <a:xfrm>
            <a:off x="9192269" y="3599987"/>
            <a:ext cx="2664296" cy="288000"/>
          </a:xfrm>
          <a:prstGeom prst="rect">
            <a:avLst/>
          </a:prstGeom>
          <a:solidFill>
            <a:schemeClr val="accent6"/>
          </a:solidFill>
          <a:ln w="3175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  <a:buClr>
                <a:schemeClr val="accent2"/>
              </a:buClr>
              <a:buSzPct val="120000"/>
              <a:buFont typeface="Wingdings" pitchFamily="2" charset="2"/>
              <a:buNone/>
              <a:defRPr/>
            </a:pPr>
            <a:r>
              <a:rPr lang="de-DE" sz="1200" dirty="0">
                <a:solidFill>
                  <a:schemeClr val="bg1"/>
                </a:solidFill>
                <a:latin typeface="+mj-lt"/>
              </a:rPr>
              <a:t>40 | 93 | 166</a:t>
            </a:r>
          </a:p>
        </p:txBody>
      </p:sp>
      <p:sp>
        <p:nvSpPr>
          <p:cNvPr id="53" name="Rectangle 4">
            <a:extLst>
              <a:ext uri="{FF2B5EF4-FFF2-40B4-BE49-F238E27FC236}">
                <a16:creationId xmlns:a16="http://schemas.microsoft.com/office/drawing/2014/main" id="{C6CBD711-BF01-467A-8E71-6405ED566F9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95400" y="2546902"/>
            <a:ext cx="2663825" cy="2880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>
            <a:lvl1pPr>
              <a:spcBef>
                <a:spcPct val="100000"/>
              </a:spcBef>
              <a:buFont typeface="Arial" charset="0"/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50000"/>
              </a:spcBef>
              <a:buClr>
                <a:srgbClr val="D50018"/>
              </a:buClr>
              <a:buSzPct val="120000"/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</a:defRPr>
            </a:lvl2pPr>
            <a:lvl3pPr indent="-269875">
              <a:spcBef>
                <a:spcPct val="50000"/>
              </a:spcBef>
              <a:buClr>
                <a:schemeClr val="accent2"/>
              </a:buClr>
              <a:buSzPct val="12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indent="-271463"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indent="-269875"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indent="-269875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indent="-269875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indent="-269875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indent="-269875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buClr>
                <a:schemeClr val="accent2"/>
              </a:buClr>
              <a:buSzPct val="120000"/>
              <a:buFont typeface="Wingdings" pitchFamily="2" charset="2"/>
              <a:buNone/>
            </a:pPr>
            <a:r>
              <a:rPr lang="de-DE" altLang="de-DE" sz="1200" b="0" dirty="0">
                <a:solidFill>
                  <a:schemeClr val="bg1"/>
                </a:solidFill>
                <a:latin typeface="+mj-lt"/>
              </a:rPr>
              <a:t>0 | 0 | 0</a:t>
            </a:r>
          </a:p>
        </p:txBody>
      </p:sp>
      <p:sp>
        <p:nvSpPr>
          <p:cNvPr id="54" name="Rectangle 5">
            <a:extLst>
              <a:ext uri="{FF2B5EF4-FFF2-40B4-BE49-F238E27FC236}">
                <a16:creationId xmlns:a16="http://schemas.microsoft.com/office/drawing/2014/main" id="{25A9ED2E-F119-4F98-B457-E65BE005EC0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95400" y="2195863"/>
            <a:ext cx="2663825" cy="2880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>
            <a:lvl1pPr>
              <a:spcBef>
                <a:spcPct val="100000"/>
              </a:spcBef>
              <a:buFont typeface="Arial" charset="0"/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50000"/>
              </a:spcBef>
              <a:buClr>
                <a:srgbClr val="D50018"/>
              </a:buClr>
              <a:buSzPct val="120000"/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</a:defRPr>
            </a:lvl2pPr>
            <a:lvl3pPr indent="-269875">
              <a:spcBef>
                <a:spcPct val="50000"/>
              </a:spcBef>
              <a:buClr>
                <a:schemeClr val="accent2"/>
              </a:buClr>
              <a:buSzPct val="12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indent="-271463"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indent="-269875"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indent="-269875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indent="-269875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indent="-269875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indent="-269875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buClr>
                <a:schemeClr val="accent2"/>
              </a:buClr>
              <a:buSzPct val="120000"/>
              <a:buFont typeface="Wingdings" pitchFamily="2" charset="2"/>
              <a:buNone/>
            </a:pPr>
            <a:r>
              <a:rPr lang="de-DE" altLang="de-DE" sz="1200" b="0" dirty="0">
                <a:latin typeface="+mj-lt"/>
              </a:rPr>
              <a:t>255 | 220 | 165</a:t>
            </a:r>
          </a:p>
        </p:txBody>
      </p:sp>
      <p:sp>
        <p:nvSpPr>
          <p:cNvPr id="55" name="Rectangle 6">
            <a:extLst>
              <a:ext uri="{FF2B5EF4-FFF2-40B4-BE49-F238E27FC236}">
                <a16:creationId xmlns:a16="http://schemas.microsoft.com/office/drawing/2014/main" id="{0F1F06E5-9EB3-420B-9CC5-5015C0AB323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95400" y="1844824"/>
            <a:ext cx="2663825" cy="28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>
            <a:lvl1pPr>
              <a:spcBef>
                <a:spcPct val="100000"/>
              </a:spcBef>
              <a:buFont typeface="Arial" charset="0"/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50000"/>
              </a:spcBef>
              <a:buClr>
                <a:srgbClr val="D50018"/>
              </a:buClr>
              <a:buSzPct val="120000"/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</a:defRPr>
            </a:lvl2pPr>
            <a:lvl3pPr indent="-269875">
              <a:spcBef>
                <a:spcPct val="50000"/>
              </a:spcBef>
              <a:buClr>
                <a:schemeClr val="accent2"/>
              </a:buClr>
              <a:buSzPct val="12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indent="-271463"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indent="-269875"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indent="-269875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indent="-269875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indent="-269875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indent="-269875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buClr>
                <a:schemeClr val="accent2"/>
              </a:buClr>
              <a:buSzPct val="120000"/>
              <a:buFont typeface="Wingdings" pitchFamily="2" charset="2"/>
              <a:buNone/>
            </a:pPr>
            <a:r>
              <a:rPr lang="de-DE" altLang="de-DE" sz="1200" b="0" dirty="0">
                <a:solidFill>
                  <a:schemeClr val="bg1"/>
                </a:solidFill>
                <a:latin typeface="+mj-lt"/>
              </a:rPr>
              <a:t>255 | 140 | 0</a:t>
            </a:r>
          </a:p>
        </p:txBody>
      </p:sp>
      <p:sp>
        <p:nvSpPr>
          <p:cNvPr id="56" name="Rectangle 17">
            <a:extLst>
              <a:ext uri="{FF2B5EF4-FFF2-40B4-BE49-F238E27FC236}">
                <a16:creationId xmlns:a16="http://schemas.microsoft.com/office/drawing/2014/main" id="{F61D11E7-BBC3-4396-A7C1-913F3D7815A4}"/>
              </a:ext>
            </a:extLst>
          </p:cNvPr>
          <p:cNvSpPr>
            <a:spLocks noChangeArrowheads="1"/>
          </p:cNvSpPr>
          <p:nvPr/>
        </p:nvSpPr>
        <p:spPr bwMode="gray">
          <a:xfrm>
            <a:off x="9192740" y="1844824"/>
            <a:ext cx="2663825" cy="2880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>
            <a:lvl1pPr>
              <a:spcBef>
                <a:spcPct val="100000"/>
              </a:spcBef>
              <a:buFont typeface="Arial" charset="0"/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50000"/>
              </a:spcBef>
              <a:buClr>
                <a:srgbClr val="D50018"/>
              </a:buClr>
              <a:buSzPct val="120000"/>
              <a:buFont typeface="Wingdings" pitchFamily="2" charset="2"/>
              <a:defRPr sz="1600">
                <a:solidFill>
                  <a:schemeClr val="tx1"/>
                </a:solidFill>
                <a:latin typeface="Arial" charset="0"/>
              </a:defRPr>
            </a:lvl2pPr>
            <a:lvl3pPr indent="-269875">
              <a:spcBef>
                <a:spcPct val="50000"/>
              </a:spcBef>
              <a:buClr>
                <a:schemeClr val="accent2"/>
              </a:buClr>
              <a:buSzPct val="12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indent="-271463"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indent="-269875"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indent="-269875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indent="-269875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indent="-269875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indent="-269875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buClr>
                <a:schemeClr val="accent2"/>
              </a:buClr>
              <a:buSzPct val="120000"/>
              <a:buFont typeface="Wingdings" pitchFamily="2" charset="2"/>
              <a:buNone/>
            </a:pPr>
            <a:r>
              <a:rPr lang="de-DE" altLang="de-DE" sz="1200" b="0" dirty="0">
                <a:solidFill>
                  <a:schemeClr val="bg1"/>
                </a:solidFill>
              </a:rPr>
              <a:t>255 | 140 | 0</a:t>
            </a:r>
          </a:p>
        </p:txBody>
      </p:sp>
      <p:sp>
        <p:nvSpPr>
          <p:cNvPr id="57" name="Rectangle 4">
            <a:extLst>
              <a:ext uri="{FF2B5EF4-FFF2-40B4-BE49-F238E27FC236}">
                <a16:creationId xmlns:a16="http://schemas.microsoft.com/office/drawing/2014/main" id="{D7568F25-FBC2-4D31-8236-6D92BF71CB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95400" y="2897941"/>
            <a:ext cx="2663825" cy="288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  <a:buClr>
                <a:schemeClr val="accent2"/>
              </a:buClr>
              <a:buSzPct val="120000"/>
              <a:buFont typeface="Wingdings" pitchFamily="2" charset="2"/>
              <a:buNone/>
              <a:defRPr/>
            </a:pPr>
            <a:r>
              <a:rPr lang="de-DE" sz="1200" dirty="0">
                <a:latin typeface="+mj-lt"/>
              </a:rPr>
              <a:t>255 | 255 | 255</a:t>
            </a:r>
          </a:p>
        </p:txBody>
      </p:sp>
      <p:cxnSp>
        <p:nvCxnSpPr>
          <p:cNvPr id="58" name="Gewinkelte Verbindung 129">
            <a:extLst>
              <a:ext uri="{FF2B5EF4-FFF2-40B4-BE49-F238E27FC236}">
                <a16:creationId xmlns:a16="http://schemas.microsoft.com/office/drawing/2014/main" id="{6EB32A0B-DB78-4A97-AFD3-A83E54928C3F}"/>
              </a:ext>
            </a:extLst>
          </p:cNvPr>
          <p:cNvCxnSpPr>
            <a:cxnSpLocks/>
            <a:stCxn id="57" idx="3"/>
            <a:endCxn id="80" idx="0"/>
          </p:cNvCxnSpPr>
          <p:nvPr/>
        </p:nvCxnSpPr>
        <p:spPr bwMode="gray">
          <a:xfrm>
            <a:off x="3359225" y="3041941"/>
            <a:ext cx="2168792" cy="768615"/>
          </a:xfrm>
          <a:prstGeom prst="bentConnector2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winkelte Verbindung 131">
            <a:extLst>
              <a:ext uri="{FF2B5EF4-FFF2-40B4-BE49-F238E27FC236}">
                <a16:creationId xmlns:a16="http://schemas.microsoft.com/office/drawing/2014/main" id="{6E007AE8-9D77-4682-A0BF-D4DE3E819A41}"/>
              </a:ext>
            </a:extLst>
          </p:cNvPr>
          <p:cNvCxnSpPr>
            <a:cxnSpLocks/>
            <a:stCxn id="53" idx="3"/>
            <a:endCxn id="81" idx="0"/>
          </p:cNvCxnSpPr>
          <p:nvPr/>
        </p:nvCxnSpPr>
        <p:spPr bwMode="gray">
          <a:xfrm>
            <a:off x="3359225" y="2690902"/>
            <a:ext cx="2334812" cy="1119654"/>
          </a:xfrm>
          <a:prstGeom prst="bentConnector2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winkelte Verbindung 133">
            <a:extLst>
              <a:ext uri="{FF2B5EF4-FFF2-40B4-BE49-F238E27FC236}">
                <a16:creationId xmlns:a16="http://schemas.microsoft.com/office/drawing/2014/main" id="{8668AFCB-838D-4683-8391-06F75DFFEC0B}"/>
              </a:ext>
            </a:extLst>
          </p:cNvPr>
          <p:cNvCxnSpPr>
            <a:cxnSpLocks/>
            <a:stCxn id="54" idx="3"/>
            <a:endCxn id="82" idx="0"/>
          </p:cNvCxnSpPr>
          <p:nvPr/>
        </p:nvCxnSpPr>
        <p:spPr bwMode="gray">
          <a:xfrm>
            <a:off x="3359225" y="2339863"/>
            <a:ext cx="2500831" cy="1470693"/>
          </a:xfrm>
          <a:prstGeom prst="bentConnector2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winkelte Verbindung 135">
            <a:extLst>
              <a:ext uri="{FF2B5EF4-FFF2-40B4-BE49-F238E27FC236}">
                <a16:creationId xmlns:a16="http://schemas.microsoft.com/office/drawing/2014/main" id="{A80233BD-9401-4CD6-B946-4C0F4D1B2F86}"/>
              </a:ext>
            </a:extLst>
          </p:cNvPr>
          <p:cNvCxnSpPr>
            <a:cxnSpLocks/>
            <a:stCxn id="55" idx="3"/>
            <a:endCxn id="83" idx="0"/>
          </p:cNvCxnSpPr>
          <p:nvPr/>
        </p:nvCxnSpPr>
        <p:spPr bwMode="gray">
          <a:xfrm>
            <a:off x="3359225" y="1988824"/>
            <a:ext cx="2666850" cy="1821732"/>
          </a:xfrm>
          <a:prstGeom prst="bentConnector2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winkelte Verbindung 137">
            <a:extLst>
              <a:ext uri="{FF2B5EF4-FFF2-40B4-BE49-F238E27FC236}">
                <a16:creationId xmlns:a16="http://schemas.microsoft.com/office/drawing/2014/main" id="{E2880C34-AF51-46C3-97F5-2C72233C0D3D}"/>
              </a:ext>
            </a:extLst>
          </p:cNvPr>
          <p:cNvCxnSpPr>
            <a:cxnSpLocks/>
            <a:stCxn id="56" idx="1"/>
            <a:endCxn id="84" idx="0"/>
          </p:cNvCxnSpPr>
          <p:nvPr/>
        </p:nvCxnSpPr>
        <p:spPr bwMode="gray">
          <a:xfrm rot="10800000" flipV="1">
            <a:off x="6192094" y="1988824"/>
            <a:ext cx="3000646" cy="1821732"/>
          </a:xfrm>
          <a:prstGeom prst="bentConnector2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winkelte Verbindung 139">
            <a:extLst>
              <a:ext uri="{FF2B5EF4-FFF2-40B4-BE49-F238E27FC236}">
                <a16:creationId xmlns:a16="http://schemas.microsoft.com/office/drawing/2014/main" id="{6C7D8278-9DF1-4469-AB01-8FE17BF8E60E}"/>
              </a:ext>
            </a:extLst>
          </p:cNvPr>
          <p:cNvCxnSpPr>
            <a:cxnSpLocks/>
            <a:stCxn id="47" idx="1"/>
            <a:endCxn id="85" idx="0"/>
          </p:cNvCxnSpPr>
          <p:nvPr/>
        </p:nvCxnSpPr>
        <p:spPr bwMode="gray">
          <a:xfrm rot="10800000" flipV="1">
            <a:off x="6358115" y="2339862"/>
            <a:ext cx="2834155" cy="1470693"/>
          </a:xfrm>
          <a:prstGeom prst="bentConnector2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winkelte Verbindung 141">
            <a:extLst>
              <a:ext uri="{FF2B5EF4-FFF2-40B4-BE49-F238E27FC236}">
                <a16:creationId xmlns:a16="http://schemas.microsoft.com/office/drawing/2014/main" id="{FF90134A-0A76-4D61-8F26-5FA819E70861}"/>
              </a:ext>
            </a:extLst>
          </p:cNvPr>
          <p:cNvCxnSpPr>
            <a:cxnSpLocks/>
            <a:stCxn id="49" idx="1"/>
            <a:endCxn id="86" idx="0"/>
          </p:cNvCxnSpPr>
          <p:nvPr/>
        </p:nvCxnSpPr>
        <p:spPr bwMode="gray">
          <a:xfrm rot="10800000" flipV="1">
            <a:off x="6524133" y="2690894"/>
            <a:ext cx="2668136" cy="1119662"/>
          </a:xfrm>
          <a:prstGeom prst="bentConnector2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winkelte Verbindung 143">
            <a:extLst>
              <a:ext uri="{FF2B5EF4-FFF2-40B4-BE49-F238E27FC236}">
                <a16:creationId xmlns:a16="http://schemas.microsoft.com/office/drawing/2014/main" id="{A73E095A-C91B-4F7A-AF02-CBACFF9F0F2A}"/>
              </a:ext>
            </a:extLst>
          </p:cNvPr>
          <p:cNvCxnSpPr>
            <a:cxnSpLocks/>
            <a:stCxn id="50" idx="1"/>
            <a:endCxn id="87" idx="0"/>
          </p:cNvCxnSpPr>
          <p:nvPr/>
        </p:nvCxnSpPr>
        <p:spPr bwMode="gray">
          <a:xfrm rot="10800000" flipV="1">
            <a:off x="6690153" y="3041924"/>
            <a:ext cx="2502117" cy="768631"/>
          </a:xfrm>
          <a:prstGeom prst="bentConnector2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winkelte Verbindung 145">
            <a:extLst>
              <a:ext uri="{FF2B5EF4-FFF2-40B4-BE49-F238E27FC236}">
                <a16:creationId xmlns:a16="http://schemas.microsoft.com/office/drawing/2014/main" id="{E1E2AD54-27BD-476C-90B2-0EE990B052FF}"/>
              </a:ext>
            </a:extLst>
          </p:cNvPr>
          <p:cNvCxnSpPr>
            <a:cxnSpLocks/>
            <a:stCxn id="51" idx="1"/>
            <a:endCxn id="88" idx="0"/>
          </p:cNvCxnSpPr>
          <p:nvPr/>
        </p:nvCxnSpPr>
        <p:spPr bwMode="gray">
          <a:xfrm rot="10800000" flipV="1">
            <a:off x="6856173" y="3392956"/>
            <a:ext cx="2336097" cy="417600"/>
          </a:xfrm>
          <a:prstGeom prst="bentConnector2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winkelte Verbindung 147">
            <a:extLst>
              <a:ext uri="{FF2B5EF4-FFF2-40B4-BE49-F238E27FC236}">
                <a16:creationId xmlns:a16="http://schemas.microsoft.com/office/drawing/2014/main" id="{5B815663-73B4-4BB3-9D01-218D3675D052}"/>
              </a:ext>
            </a:extLst>
          </p:cNvPr>
          <p:cNvCxnSpPr>
            <a:cxnSpLocks/>
            <a:stCxn id="52" idx="1"/>
            <a:endCxn id="89" idx="0"/>
          </p:cNvCxnSpPr>
          <p:nvPr/>
        </p:nvCxnSpPr>
        <p:spPr bwMode="gray">
          <a:xfrm rot="10800000" flipV="1">
            <a:off x="7022195" y="3743986"/>
            <a:ext cx="2170075" cy="66569"/>
          </a:xfrm>
          <a:prstGeom prst="bentConnector2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011585ED-16F3-48D0-ADF2-844D24ED6DA8}"/>
              </a:ext>
            </a:extLst>
          </p:cNvPr>
          <p:cNvGrpSpPr/>
          <p:nvPr/>
        </p:nvGrpSpPr>
        <p:grpSpPr>
          <a:xfrm>
            <a:off x="1379683" y="5587192"/>
            <a:ext cx="9792600" cy="432000"/>
            <a:chOff x="695400" y="5587192"/>
            <a:chExt cx="9792600" cy="432000"/>
          </a:xfrm>
        </p:grpSpPr>
        <p:sp>
          <p:nvSpPr>
            <p:cNvPr id="68" name="Rectangle 4">
              <a:extLst>
                <a:ext uri="{FF2B5EF4-FFF2-40B4-BE49-F238E27FC236}">
                  <a16:creationId xmlns:a16="http://schemas.microsoft.com/office/drawing/2014/main" id="{CFCDC655-A28A-4FB0-B237-3D5B2E71832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95400" y="5587192"/>
              <a:ext cx="9792600" cy="432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50000"/>
                </a:spcBef>
                <a:buClr>
                  <a:schemeClr val="accent2"/>
                </a:buClr>
                <a:buSzPct val="120000"/>
                <a:buFont typeface="Wingdings" pitchFamily="2" charset="2"/>
                <a:buNone/>
                <a:defRPr/>
              </a:pPr>
              <a:endParaRPr lang="de-DE" sz="1200" dirty="0">
                <a:latin typeface="+mj-lt"/>
              </a:endParaRPr>
            </a:p>
          </p:txBody>
        </p:sp>
        <p:sp>
          <p:nvSpPr>
            <p:cNvPr id="69" name="Rectangle 4">
              <a:extLst>
                <a:ext uri="{FF2B5EF4-FFF2-40B4-BE49-F238E27FC236}">
                  <a16:creationId xmlns:a16="http://schemas.microsoft.com/office/drawing/2014/main" id="{9C3A7E2C-0D1F-4A34-AB77-BA58B485C2A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09315" y="5659152"/>
              <a:ext cx="1301197" cy="288000"/>
            </a:xfrm>
            <a:prstGeom prst="rect">
              <a:avLst/>
            </a:prstGeom>
            <a:solidFill>
              <a:srgbClr val="B2CE36"/>
            </a:solidFill>
            <a:ln w="317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lvl1pPr>
                <a:spcBef>
                  <a:spcPct val="100000"/>
                </a:spcBef>
                <a:buFont typeface="Arial" charset="0"/>
                <a:defRPr sz="1600"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50000"/>
                </a:spcBef>
                <a:buClr>
                  <a:srgbClr val="D50018"/>
                </a:buClr>
                <a:buSzPct val="120000"/>
                <a:buFont typeface="Wingdings" pitchFamily="2" charset="2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indent="-269875">
                <a:spcBef>
                  <a:spcPct val="50000"/>
                </a:spcBef>
                <a:buClr>
                  <a:schemeClr val="accent2"/>
                </a:buClr>
                <a:buSzPct val="12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indent="-271463"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indent="-269875"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indent="-269875" fontAlgn="base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indent="-269875" fontAlgn="base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indent="-269875" fontAlgn="base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indent="-269875" fontAlgn="base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ct val="50000"/>
                </a:spcBef>
                <a:buClr>
                  <a:schemeClr val="accent2"/>
                </a:buClr>
                <a:buSzPct val="120000"/>
                <a:buFont typeface="Wingdings" pitchFamily="2" charset="2"/>
                <a:buNone/>
              </a:pPr>
              <a:r>
                <a:rPr lang="de-DE" altLang="de-DE" sz="1200" b="0" dirty="0">
                  <a:solidFill>
                    <a:schemeClr val="bg1"/>
                  </a:solidFill>
                  <a:latin typeface="+mj-lt"/>
                </a:rPr>
                <a:t>178 | 206 | 54</a:t>
              </a:r>
            </a:p>
          </p:txBody>
        </p:sp>
        <p:sp>
          <p:nvSpPr>
            <p:cNvPr id="70" name="Rectangle 5">
              <a:extLst>
                <a:ext uri="{FF2B5EF4-FFF2-40B4-BE49-F238E27FC236}">
                  <a16:creationId xmlns:a16="http://schemas.microsoft.com/office/drawing/2014/main" id="{45EE7E0D-D09E-4E24-94A4-AF08CEF5498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60674" y="5659152"/>
              <a:ext cx="1301197" cy="288000"/>
            </a:xfrm>
            <a:prstGeom prst="rect">
              <a:avLst/>
            </a:prstGeom>
            <a:solidFill>
              <a:srgbClr val="AA9C7C"/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lvl1pPr>
                <a:spcBef>
                  <a:spcPct val="100000"/>
                </a:spcBef>
                <a:buFont typeface="Arial" charset="0"/>
                <a:defRPr sz="1600"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50000"/>
                </a:spcBef>
                <a:buClr>
                  <a:srgbClr val="D50018"/>
                </a:buClr>
                <a:buSzPct val="120000"/>
                <a:buFont typeface="Wingdings" pitchFamily="2" charset="2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indent="-269875">
                <a:spcBef>
                  <a:spcPct val="50000"/>
                </a:spcBef>
                <a:buClr>
                  <a:schemeClr val="accent2"/>
                </a:buClr>
                <a:buSzPct val="12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indent="-271463"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indent="-269875"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indent="-269875" fontAlgn="base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indent="-269875" fontAlgn="base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indent="-269875" fontAlgn="base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indent="-269875" fontAlgn="base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ct val="50000"/>
                </a:spcBef>
                <a:buClr>
                  <a:schemeClr val="accent2"/>
                </a:buClr>
                <a:buSzPct val="120000"/>
                <a:buFont typeface="Wingdings" pitchFamily="2" charset="2"/>
                <a:buNone/>
              </a:pPr>
              <a:r>
                <a:rPr lang="de-DE" altLang="de-DE" sz="1200" b="0" dirty="0">
                  <a:solidFill>
                    <a:schemeClr val="bg1"/>
                  </a:solidFill>
                  <a:latin typeface="+mj-lt"/>
                </a:rPr>
                <a:t>170 | 156 | 124</a:t>
              </a:r>
            </a:p>
          </p:txBody>
        </p:sp>
        <p:sp>
          <p:nvSpPr>
            <p:cNvPr id="71" name="Rectangle 4">
              <a:extLst>
                <a:ext uri="{FF2B5EF4-FFF2-40B4-BE49-F238E27FC236}">
                  <a16:creationId xmlns:a16="http://schemas.microsoft.com/office/drawing/2014/main" id="{A9A5B6D2-43CF-41C1-AA25-EA6B187DE0D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7956" y="5659152"/>
              <a:ext cx="1301197" cy="288000"/>
            </a:xfrm>
            <a:prstGeom prst="rect">
              <a:avLst/>
            </a:prstGeom>
            <a:solidFill>
              <a:srgbClr val="449CDB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50000"/>
                </a:spcBef>
                <a:buClr>
                  <a:schemeClr val="accent2"/>
                </a:buClr>
                <a:buSzPct val="120000"/>
                <a:buFont typeface="Wingdings" pitchFamily="2" charset="2"/>
                <a:buNone/>
                <a:defRPr/>
              </a:pPr>
              <a:r>
                <a:rPr lang="de-DE" sz="1200" dirty="0">
                  <a:solidFill>
                    <a:schemeClr val="bg1"/>
                  </a:solidFill>
                  <a:latin typeface="+mj-lt"/>
                </a:rPr>
                <a:t>68 | 156 | 219</a:t>
              </a:r>
            </a:p>
          </p:txBody>
        </p:sp>
        <p:sp>
          <p:nvSpPr>
            <p:cNvPr id="72" name="Rectangle 4">
              <a:extLst>
                <a:ext uri="{FF2B5EF4-FFF2-40B4-BE49-F238E27FC236}">
                  <a16:creationId xmlns:a16="http://schemas.microsoft.com/office/drawing/2014/main" id="{628D2A36-C76E-4989-994C-A0B79F121D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63392" y="5659152"/>
              <a:ext cx="1301197" cy="288000"/>
            </a:xfrm>
            <a:prstGeom prst="rect">
              <a:avLst/>
            </a:prstGeom>
            <a:solidFill>
              <a:srgbClr val="777777"/>
            </a:solidFill>
            <a:ln w="317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lvl1pPr>
                <a:spcBef>
                  <a:spcPct val="100000"/>
                </a:spcBef>
                <a:buFont typeface="Arial" charset="0"/>
                <a:defRPr sz="1600"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50000"/>
                </a:spcBef>
                <a:buClr>
                  <a:srgbClr val="D50018"/>
                </a:buClr>
                <a:buSzPct val="120000"/>
                <a:buFont typeface="Wingdings" pitchFamily="2" charset="2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indent="-269875">
                <a:spcBef>
                  <a:spcPct val="50000"/>
                </a:spcBef>
                <a:buClr>
                  <a:schemeClr val="accent2"/>
                </a:buClr>
                <a:buSzPct val="12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indent="-271463"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indent="-269875"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indent="-269875" fontAlgn="base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indent="-269875" fontAlgn="base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indent="-269875" fontAlgn="base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indent="-269875" fontAlgn="base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ct val="50000"/>
                </a:spcBef>
                <a:buClr>
                  <a:schemeClr val="accent2"/>
                </a:buClr>
                <a:buSzPct val="120000"/>
                <a:buFont typeface="Wingdings" pitchFamily="2" charset="2"/>
                <a:buNone/>
              </a:pPr>
              <a:r>
                <a:rPr lang="de-DE" altLang="de-DE" sz="1200" b="0" dirty="0">
                  <a:solidFill>
                    <a:schemeClr val="bg1"/>
                  </a:solidFill>
                  <a:latin typeface="+mj-lt"/>
                </a:rPr>
                <a:t>119 | 119 | 119</a:t>
              </a:r>
            </a:p>
          </p:txBody>
        </p:sp>
        <p:sp>
          <p:nvSpPr>
            <p:cNvPr id="73" name="Rectangle 5">
              <a:extLst>
                <a:ext uri="{FF2B5EF4-FFF2-40B4-BE49-F238E27FC236}">
                  <a16:creationId xmlns:a16="http://schemas.microsoft.com/office/drawing/2014/main" id="{D92CE957-6029-49C2-8AC6-0B7A49DAB97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14751" y="5659152"/>
              <a:ext cx="1301197" cy="288000"/>
            </a:xfrm>
            <a:prstGeom prst="rect">
              <a:avLst/>
            </a:prstGeom>
            <a:solidFill>
              <a:srgbClr val="9A9A9A"/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lvl1pPr>
                <a:spcBef>
                  <a:spcPct val="100000"/>
                </a:spcBef>
                <a:buFont typeface="Arial" charset="0"/>
                <a:defRPr sz="1600"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50000"/>
                </a:spcBef>
                <a:buClr>
                  <a:srgbClr val="D50018"/>
                </a:buClr>
                <a:buSzPct val="120000"/>
                <a:buFont typeface="Wingdings" pitchFamily="2" charset="2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indent="-269875">
                <a:spcBef>
                  <a:spcPct val="50000"/>
                </a:spcBef>
                <a:buClr>
                  <a:schemeClr val="accent2"/>
                </a:buClr>
                <a:buSzPct val="12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indent="-271463"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indent="-269875"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indent="-269875" fontAlgn="base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indent="-269875" fontAlgn="base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indent="-269875" fontAlgn="base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indent="-269875" fontAlgn="base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ct val="50000"/>
                </a:spcBef>
                <a:buClr>
                  <a:schemeClr val="accent2"/>
                </a:buClr>
                <a:buSzPct val="120000"/>
                <a:buFont typeface="Wingdings" pitchFamily="2" charset="2"/>
                <a:buNone/>
              </a:pPr>
              <a:r>
                <a:rPr lang="de-DE" altLang="de-DE" sz="1200" b="0" dirty="0">
                  <a:solidFill>
                    <a:schemeClr val="bg1"/>
                  </a:solidFill>
                  <a:latin typeface="+mj-lt"/>
                </a:rPr>
                <a:t>154 | 154 | 154</a:t>
              </a:r>
            </a:p>
          </p:txBody>
        </p:sp>
        <p:sp>
          <p:nvSpPr>
            <p:cNvPr id="74" name="Rectangle 4">
              <a:extLst>
                <a:ext uri="{FF2B5EF4-FFF2-40B4-BE49-F238E27FC236}">
                  <a16:creationId xmlns:a16="http://schemas.microsoft.com/office/drawing/2014/main" id="{9AE8EBF4-FB07-4F47-80A1-6745BB2F663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812033" y="5659152"/>
              <a:ext cx="1301197" cy="288000"/>
            </a:xfrm>
            <a:prstGeom prst="rect">
              <a:avLst/>
            </a:prstGeom>
            <a:solidFill>
              <a:srgbClr val="E8C425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50000"/>
                </a:spcBef>
                <a:buClr>
                  <a:schemeClr val="accent2"/>
                </a:buClr>
                <a:buSzPct val="120000"/>
                <a:buFont typeface="Wingdings" pitchFamily="2" charset="2"/>
                <a:buNone/>
                <a:defRPr/>
              </a:pPr>
              <a:r>
                <a:rPr lang="de-DE" sz="1200" dirty="0">
                  <a:solidFill>
                    <a:schemeClr val="bg1"/>
                  </a:solidFill>
                  <a:latin typeface="+mj-lt"/>
                </a:rPr>
                <a:t>232 | 196 | 37</a:t>
              </a:r>
            </a:p>
          </p:txBody>
        </p:sp>
        <p:sp>
          <p:nvSpPr>
            <p:cNvPr id="75" name="Rectangle 5">
              <a:extLst>
                <a:ext uri="{FF2B5EF4-FFF2-40B4-BE49-F238E27FC236}">
                  <a16:creationId xmlns:a16="http://schemas.microsoft.com/office/drawing/2014/main" id="{6A54A7B4-80A4-4325-BF80-00509212856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866113" y="5659152"/>
              <a:ext cx="1557667" cy="288000"/>
            </a:xfrm>
            <a:prstGeom prst="rect">
              <a:avLst/>
            </a:prstGeom>
            <a:solidFill>
              <a:srgbClr val="DCDCDC"/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>
              <a:lvl1pPr>
                <a:spcBef>
                  <a:spcPct val="100000"/>
                </a:spcBef>
                <a:buFont typeface="Arial" charset="0"/>
                <a:defRPr sz="1600"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50000"/>
                </a:spcBef>
                <a:buClr>
                  <a:srgbClr val="D50018"/>
                </a:buClr>
                <a:buSzPct val="120000"/>
                <a:buFont typeface="Wingdings" pitchFamily="2" charset="2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indent="-269875">
                <a:spcBef>
                  <a:spcPct val="50000"/>
                </a:spcBef>
                <a:buClr>
                  <a:schemeClr val="accent2"/>
                </a:buClr>
                <a:buSzPct val="12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indent="-271463"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indent="-269875"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indent="-269875" fontAlgn="base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indent="-269875" fontAlgn="base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indent="-269875" fontAlgn="base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indent="-269875" fontAlgn="base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ct val="50000"/>
                </a:spcBef>
                <a:buClr>
                  <a:schemeClr val="accent2"/>
                </a:buClr>
                <a:buSzPct val="120000"/>
                <a:buFont typeface="Wingdings" pitchFamily="2" charset="2"/>
                <a:buNone/>
              </a:pPr>
              <a:r>
                <a:rPr lang="de-DE" altLang="de-DE" sz="1200" b="0" dirty="0">
                  <a:latin typeface="+mj-lt"/>
                </a:rPr>
                <a:t>220 | 220 | 220</a:t>
              </a:r>
            </a:p>
          </p:txBody>
        </p:sp>
      </p:grpSp>
      <p:grpSp>
        <p:nvGrpSpPr>
          <p:cNvPr id="76" name="Gruppieren 75">
            <a:extLst>
              <a:ext uri="{FF2B5EF4-FFF2-40B4-BE49-F238E27FC236}">
                <a16:creationId xmlns:a16="http://schemas.microsoft.com/office/drawing/2014/main" id="{8FAA14C0-84E3-43D4-B005-11119706C03D}"/>
              </a:ext>
            </a:extLst>
          </p:cNvPr>
          <p:cNvGrpSpPr/>
          <p:nvPr/>
        </p:nvGrpSpPr>
        <p:grpSpPr bwMode="gray">
          <a:xfrm>
            <a:off x="5461841" y="4015809"/>
            <a:ext cx="1628284" cy="729481"/>
            <a:chOff x="4855233" y="5058727"/>
            <a:chExt cx="2481536" cy="996747"/>
          </a:xfrm>
        </p:grpSpPr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BD03EFB8-9F39-48C4-A572-72F65624A4F0}"/>
                </a:ext>
              </a:extLst>
            </p:cNvPr>
            <p:cNvSpPr/>
            <p:nvPr/>
          </p:nvSpPr>
          <p:spPr bwMode="gray">
            <a:xfrm>
              <a:off x="4855233" y="5058727"/>
              <a:ext cx="2481536" cy="996747"/>
            </a:xfrm>
            <a:prstGeom prst="rect">
              <a:avLst/>
            </a:prstGeom>
            <a:solidFill>
              <a:schemeClr val="bg1">
                <a:alpha val="7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dirty="0"/>
            </a:p>
          </p:txBody>
        </p: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0E2A7005-EE85-412B-87AC-DCCFC9C7E93C}"/>
                </a:ext>
              </a:extLst>
            </p:cNvPr>
            <p:cNvCxnSpPr/>
            <p:nvPr/>
          </p:nvCxnSpPr>
          <p:spPr bwMode="gray">
            <a:xfrm>
              <a:off x="4934629" y="5136951"/>
              <a:ext cx="2322744" cy="840299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09C51086-65F7-40A3-A4F1-2236927AF228}"/>
                </a:ext>
              </a:extLst>
            </p:cNvPr>
            <p:cNvCxnSpPr/>
            <p:nvPr/>
          </p:nvCxnSpPr>
          <p:spPr bwMode="gray">
            <a:xfrm flipH="1">
              <a:off x="4934629" y="5136951"/>
              <a:ext cx="2322744" cy="840299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0" name="Rechteck 79">
            <a:extLst>
              <a:ext uri="{FF2B5EF4-FFF2-40B4-BE49-F238E27FC236}">
                <a16:creationId xmlns:a16="http://schemas.microsoft.com/office/drawing/2014/main" id="{C8FB1E9D-5615-4FC8-B65B-D3F3B2561643}"/>
              </a:ext>
            </a:extLst>
          </p:cNvPr>
          <p:cNvSpPr/>
          <p:nvPr/>
        </p:nvSpPr>
        <p:spPr bwMode="gray">
          <a:xfrm>
            <a:off x="5483895" y="3810556"/>
            <a:ext cx="88244" cy="8824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/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153E1F4E-9E1B-45BC-9C0F-C8E19B63ADDB}"/>
              </a:ext>
            </a:extLst>
          </p:cNvPr>
          <p:cNvSpPr/>
          <p:nvPr/>
        </p:nvSpPr>
        <p:spPr bwMode="gray">
          <a:xfrm>
            <a:off x="5649915" y="3810556"/>
            <a:ext cx="88244" cy="8824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/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6626E059-C7C7-4EE3-AEA5-F0ACD382FAC9}"/>
              </a:ext>
            </a:extLst>
          </p:cNvPr>
          <p:cNvSpPr/>
          <p:nvPr/>
        </p:nvSpPr>
        <p:spPr bwMode="gray">
          <a:xfrm>
            <a:off x="5815934" y="3810556"/>
            <a:ext cx="88244" cy="8824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/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332736B3-4384-4D66-9547-91BD2152B9A7}"/>
              </a:ext>
            </a:extLst>
          </p:cNvPr>
          <p:cNvSpPr/>
          <p:nvPr/>
        </p:nvSpPr>
        <p:spPr bwMode="gray">
          <a:xfrm>
            <a:off x="5981953" y="3810556"/>
            <a:ext cx="88244" cy="8824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/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7101DA40-0E8E-4440-B6C0-F53938698056}"/>
              </a:ext>
            </a:extLst>
          </p:cNvPr>
          <p:cNvSpPr/>
          <p:nvPr/>
        </p:nvSpPr>
        <p:spPr bwMode="gray">
          <a:xfrm>
            <a:off x="6147972" y="3810556"/>
            <a:ext cx="88244" cy="8824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/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534EE251-638F-44D3-9207-EC010DEAEA6A}"/>
              </a:ext>
            </a:extLst>
          </p:cNvPr>
          <p:cNvSpPr/>
          <p:nvPr/>
        </p:nvSpPr>
        <p:spPr bwMode="gray">
          <a:xfrm>
            <a:off x="6313992" y="3810556"/>
            <a:ext cx="88244" cy="8824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/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AFB466C9-0488-412C-9BD0-94CBE595655D}"/>
              </a:ext>
            </a:extLst>
          </p:cNvPr>
          <p:cNvSpPr/>
          <p:nvPr/>
        </p:nvSpPr>
        <p:spPr bwMode="gray">
          <a:xfrm>
            <a:off x="6480011" y="3810556"/>
            <a:ext cx="88244" cy="8824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/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0198DA58-8DA9-42A4-840C-11D0CC36D1A6}"/>
              </a:ext>
            </a:extLst>
          </p:cNvPr>
          <p:cNvSpPr/>
          <p:nvPr/>
        </p:nvSpPr>
        <p:spPr bwMode="gray">
          <a:xfrm>
            <a:off x="6646030" y="3810556"/>
            <a:ext cx="88244" cy="8824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/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688BCC9F-87BB-4F4E-ABAE-BA2F0A5D7B3F}"/>
              </a:ext>
            </a:extLst>
          </p:cNvPr>
          <p:cNvSpPr/>
          <p:nvPr/>
        </p:nvSpPr>
        <p:spPr bwMode="gray">
          <a:xfrm>
            <a:off x="6812050" y="3810556"/>
            <a:ext cx="88244" cy="8824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/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99A43702-C848-4F2E-8CDB-CCE2D0E75D4C}"/>
              </a:ext>
            </a:extLst>
          </p:cNvPr>
          <p:cNvSpPr/>
          <p:nvPr/>
        </p:nvSpPr>
        <p:spPr bwMode="gray">
          <a:xfrm>
            <a:off x="6978072" y="3810556"/>
            <a:ext cx="88244" cy="8824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/>
          </a:p>
        </p:txBody>
      </p:sp>
      <p:pic>
        <p:nvPicPr>
          <p:cNvPr id="90" name="Grafik 89">
            <a:extLst>
              <a:ext uri="{FF2B5EF4-FFF2-40B4-BE49-F238E27FC236}">
                <a16:creationId xmlns:a16="http://schemas.microsoft.com/office/drawing/2014/main" id="{2165BD65-C217-4500-B44D-1B4EFFA94DC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200" t="1351" r="10304" b="93675"/>
          <a:stretch/>
        </p:blipFill>
        <p:spPr bwMode="gray">
          <a:xfrm>
            <a:off x="5518133" y="3549424"/>
            <a:ext cx="1429364" cy="205505"/>
          </a:xfrm>
          <a:prstGeom prst="rect">
            <a:avLst/>
          </a:prstGeom>
        </p:spPr>
      </p:pic>
      <p:sp>
        <p:nvSpPr>
          <p:cNvPr id="91" name="Rectangle 4">
            <a:extLst>
              <a:ext uri="{FF2B5EF4-FFF2-40B4-BE49-F238E27FC236}">
                <a16:creationId xmlns:a16="http://schemas.microsoft.com/office/drawing/2014/main" id="{73BB56AA-7BCA-4AC3-9DBF-5E646663631E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52317" y="5085184"/>
            <a:ext cx="1174182" cy="215991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  <a:buClr>
                <a:schemeClr val="accent2"/>
              </a:buClr>
              <a:buSzPct val="120000"/>
              <a:buFont typeface="Wingdings" pitchFamily="2" charset="2"/>
              <a:buNone/>
              <a:defRPr/>
            </a:pPr>
            <a:endParaRPr lang="de-DE" sz="1200" dirty="0">
              <a:latin typeface="+mj-lt"/>
            </a:endParaRPr>
          </a:p>
        </p:txBody>
      </p:sp>
      <p:cxnSp>
        <p:nvCxnSpPr>
          <p:cNvPr id="92" name="Gerader Verbinder 91">
            <a:extLst>
              <a:ext uri="{FF2B5EF4-FFF2-40B4-BE49-F238E27FC236}">
                <a16:creationId xmlns:a16="http://schemas.microsoft.com/office/drawing/2014/main" id="{4372C1FF-BE73-4033-969D-C7CC38DB3CB3}"/>
              </a:ext>
            </a:extLst>
          </p:cNvPr>
          <p:cNvCxnSpPr>
            <a:cxnSpLocks/>
          </p:cNvCxnSpPr>
          <p:nvPr/>
        </p:nvCxnSpPr>
        <p:spPr bwMode="gray">
          <a:xfrm>
            <a:off x="5436196" y="5373215"/>
            <a:ext cx="1679575" cy="0"/>
          </a:xfrm>
          <a:prstGeom prst="line">
            <a:avLst/>
          </a:prstGeom>
          <a:ln>
            <a:solidFill>
              <a:srgbClr val="C4C2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r Verbinder 92">
            <a:extLst>
              <a:ext uri="{FF2B5EF4-FFF2-40B4-BE49-F238E27FC236}">
                <a16:creationId xmlns:a16="http://schemas.microsoft.com/office/drawing/2014/main" id="{E9F212E0-4B86-4023-B274-565FDE1DF637}"/>
              </a:ext>
            </a:extLst>
          </p:cNvPr>
          <p:cNvCxnSpPr>
            <a:cxnSpLocks/>
            <a:stCxn id="91" idx="2"/>
          </p:cNvCxnSpPr>
          <p:nvPr/>
        </p:nvCxnSpPr>
        <p:spPr bwMode="gray">
          <a:xfrm>
            <a:off x="6039408" y="5301175"/>
            <a:ext cx="0" cy="286017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hteck 65">
            <a:extLst>
              <a:ext uri="{FF2B5EF4-FFF2-40B4-BE49-F238E27FC236}">
                <a16:creationId xmlns:a16="http://schemas.microsoft.com/office/drawing/2014/main" id="{97F4BB6A-060B-4671-934C-F09489B1E829}"/>
              </a:ext>
            </a:extLst>
          </p:cNvPr>
          <p:cNvSpPr/>
          <p:nvPr/>
        </p:nvSpPr>
        <p:spPr>
          <a:xfrm>
            <a:off x="695400" y="3315884"/>
            <a:ext cx="2663355" cy="72000"/>
          </a:xfrm>
          <a:custGeom>
            <a:avLst/>
            <a:gdLst>
              <a:gd name="connsiteX0" fmla="*/ 0 w 2663825"/>
              <a:gd name="connsiteY0" fmla="*/ 0 h 182011"/>
              <a:gd name="connsiteX1" fmla="*/ 2663825 w 2663825"/>
              <a:gd name="connsiteY1" fmla="*/ 0 h 182011"/>
              <a:gd name="connsiteX2" fmla="*/ 2663825 w 2663825"/>
              <a:gd name="connsiteY2" fmla="*/ 182011 h 182011"/>
              <a:gd name="connsiteX3" fmla="*/ 0 w 2663825"/>
              <a:gd name="connsiteY3" fmla="*/ 182011 h 182011"/>
              <a:gd name="connsiteX4" fmla="*/ 0 w 2663825"/>
              <a:gd name="connsiteY4" fmla="*/ 0 h 182011"/>
              <a:gd name="connsiteX0" fmla="*/ 2663825 w 2755265"/>
              <a:gd name="connsiteY0" fmla="*/ 0 h 182011"/>
              <a:gd name="connsiteX1" fmla="*/ 2663825 w 2755265"/>
              <a:gd name="connsiteY1" fmla="*/ 182011 h 182011"/>
              <a:gd name="connsiteX2" fmla="*/ 0 w 2755265"/>
              <a:gd name="connsiteY2" fmla="*/ 182011 h 182011"/>
              <a:gd name="connsiteX3" fmla="*/ 0 w 2755265"/>
              <a:gd name="connsiteY3" fmla="*/ 0 h 182011"/>
              <a:gd name="connsiteX4" fmla="*/ 2755265 w 2755265"/>
              <a:gd name="connsiteY4" fmla="*/ 91440 h 182011"/>
              <a:gd name="connsiteX0" fmla="*/ 2663825 w 2663825"/>
              <a:gd name="connsiteY0" fmla="*/ 0 h 182011"/>
              <a:gd name="connsiteX1" fmla="*/ 2663825 w 2663825"/>
              <a:gd name="connsiteY1" fmla="*/ 182011 h 182011"/>
              <a:gd name="connsiteX2" fmla="*/ 0 w 2663825"/>
              <a:gd name="connsiteY2" fmla="*/ 182011 h 182011"/>
              <a:gd name="connsiteX3" fmla="*/ 0 w 2663825"/>
              <a:gd name="connsiteY3" fmla="*/ 0 h 182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825" h="182011">
                <a:moveTo>
                  <a:pt x="2663825" y="0"/>
                </a:moveTo>
                <a:lnTo>
                  <a:pt x="2663825" y="182011"/>
                </a:lnTo>
                <a:lnTo>
                  <a:pt x="0" y="182011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ctr">
              <a:lnSpc>
                <a:spcPct val="113000"/>
              </a:lnSpc>
              <a:buFont typeface="Wingdings" panose="05000000000000000000" pitchFamily="2" charset="2"/>
              <a:buChar char="§"/>
            </a:pPr>
            <a:endParaRPr lang="de-DE" dirty="0"/>
          </a:p>
        </p:txBody>
      </p:sp>
      <p:sp>
        <p:nvSpPr>
          <p:cNvPr id="95" name="Rechteck 65">
            <a:extLst>
              <a:ext uri="{FF2B5EF4-FFF2-40B4-BE49-F238E27FC236}">
                <a16:creationId xmlns:a16="http://schemas.microsoft.com/office/drawing/2014/main" id="{B6A96252-A225-4E0A-8BDA-65A5380C8F3F}"/>
              </a:ext>
            </a:extLst>
          </p:cNvPr>
          <p:cNvSpPr/>
          <p:nvPr/>
        </p:nvSpPr>
        <p:spPr>
          <a:xfrm>
            <a:off x="9193285" y="4009001"/>
            <a:ext cx="2663355" cy="72000"/>
          </a:xfrm>
          <a:custGeom>
            <a:avLst/>
            <a:gdLst>
              <a:gd name="connsiteX0" fmla="*/ 0 w 2663825"/>
              <a:gd name="connsiteY0" fmla="*/ 0 h 182011"/>
              <a:gd name="connsiteX1" fmla="*/ 2663825 w 2663825"/>
              <a:gd name="connsiteY1" fmla="*/ 0 h 182011"/>
              <a:gd name="connsiteX2" fmla="*/ 2663825 w 2663825"/>
              <a:gd name="connsiteY2" fmla="*/ 182011 h 182011"/>
              <a:gd name="connsiteX3" fmla="*/ 0 w 2663825"/>
              <a:gd name="connsiteY3" fmla="*/ 182011 h 182011"/>
              <a:gd name="connsiteX4" fmla="*/ 0 w 2663825"/>
              <a:gd name="connsiteY4" fmla="*/ 0 h 182011"/>
              <a:gd name="connsiteX0" fmla="*/ 2663825 w 2755265"/>
              <a:gd name="connsiteY0" fmla="*/ 0 h 182011"/>
              <a:gd name="connsiteX1" fmla="*/ 2663825 w 2755265"/>
              <a:gd name="connsiteY1" fmla="*/ 182011 h 182011"/>
              <a:gd name="connsiteX2" fmla="*/ 0 w 2755265"/>
              <a:gd name="connsiteY2" fmla="*/ 182011 h 182011"/>
              <a:gd name="connsiteX3" fmla="*/ 0 w 2755265"/>
              <a:gd name="connsiteY3" fmla="*/ 0 h 182011"/>
              <a:gd name="connsiteX4" fmla="*/ 2755265 w 2755265"/>
              <a:gd name="connsiteY4" fmla="*/ 91440 h 182011"/>
              <a:gd name="connsiteX0" fmla="*/ 2663825 w 2663825"/>
              <a:gd name="connsiteY0" fmla="*/ 0 h 182011"/>
              <a:gd name="connsiteX1" fmla="*/ 2663825 w 2663825"/>
              <a:gd name="connsiteY1" fmla="*/ 182011 h 182011"/>
              <a:gd name="connsiteX2" fmla="*/ 0 w 2663825"/>
              <a:gd name="connsiteY2" fmla="*/ 182011 h 182011"/>
              <a:gd name="connsiteX3" fmla="*/ 0 w 2663825"/>
              <a:gd name="connsiteY3" fmla="*/ 0 h 182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825" h="182011">
                <a:moveTo>
                  <a:pt x="2663825" y="0"/>
                </a:moveTo>
                <a:lnTo>
                  <a:pt x="2663825" y="182011"/>
                </a:lnTo>
                <a:lnTo>
                  <a:pt x="0" y="182011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l">
              <a:lnSpc>
                <a:spcPct val="113000"/>
              </a:lnSpc>
              <a:buFont typeface="Wingdings" panose="05000000000000000000" pitchFamily="2" charset="2"/>
              <a:buChar char="§"/>
            </a:pPr>
            <a:endParaRPr lang="de-DE" dirty="0"/>
          </a:p>
        </p:txBody>
      </p:sp>
      <p:sp>
        <p:nvSpPr>
          <p:cNvPr id="96" name="Textfeld 95">
            <a:extLst>
              <a:ext uri="{FF2B5EF4-FFF2-40B4-BE49-F238E27FC236}">
                <a16:creationId xmlns:a16="http://schemas.microsoft.com/office/drawing/2014/main" id="{32C28BEC-1327-495D-8316-AF48B2F78335}"/>
              </a:ext>
            </a:extLst>
          </p:cNvPr>
          <p:cNvSpPr txBox="1"/>
          <p:nvPr/>
        </p:nvSpPr>
        <p:spPr>
          <a:xfrm>
            <a:off x="1132826" y="3429000"/>
            <a:ext cx="1788503" cy="229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113000"/>
              </a:lnSpc>
            </a:pPr>
            <a:r>
              <a:rPr lang="de-DE" sz="1400" dirty="0"/>
              <a:t>Text-/Hintergrundfarben</a:t>
            </a:r>
          </a:p>
        </p:txBody>
      </p:sp>
      <p:sp>
        <p:nvSpPr>
          <p:cNvPr id="97" name="Textfeld 96">
            <a:extLst>
              <a:ext uri="{FF2B5EF4-FFF2-40B4-BE49-F238E27FC236}">
                <a16:creationId xmlns:a16="http://schemas.microsoft.com/office/drawing/2014/main" id="{E2AE872F-6AC2-4B8F-A486-4AA75EFD4E2C}"/>
              </a:ext>
            </a:extLst>
          </p:cNvPr>
          <p:cNvSpPr txBox="1"/>
          <p:nvPr/>
        </p:nvSpPr>
        <p:spPr>
          <a:xfrm>
            <a:off x="9364424" y="4124796"/>
            <a:ext cx="2321084" cy="229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113000"/>
              </a:lnSpc>
            </a:pPr>
            <a:r>
              <a:rPr lang="de-DE" sz="1400" dirty="0"/>
              <a:t>Akzentfarben (z.B. Diagramme)</a:t>
            </a:r>
          </a:p>
        </p:txBody>
      </p:sp>
      <p:sp>
        <p:nvSpPr>
          <p:cNvPr id="98" name="Rechteck 65">
            <a:extLst>
              <a:ext uri="{FF2B5EF4-FFF2-40B4-BE49-F238E27FC236}">
                <a16:creationId xmlns:a16="http://schemas.microsoft.com/office/drawing/2014/main" id="{F16D1236-E063-4BCA-B59B-44E56B3F8A97}"/>
              </a:ext>
            </a:extLst>
          </p:cNvPr>
          <p:cNvSpPr/>
          <p:nvPr/>
        </p:nvSpPr>
        <p:spPr>
          <a:xfrm rot="16200000" flipV="1">
            <a:off x="5188884" y="5150176"/>
            <a:ext cx="302072" cy="72000"/>
          </a:xfrm>
          <a:custGeom>
            <a:avLst/>
            <a:gdLst>
              <a:gd name="connsiteX0" fmla="*/ 0 w 2663825"/>
              <a:gd name="connsiteY0" fmla="*/ 0 h 182011"/>
              <a:gd name="connsiteX1" fmla="*/ 2663825 w 2663825"/>
              <a:gd name="connsiteY1" fmla="*/ 0 h 182011"/>
              <a:gd name="connsiteX2" fmla="*/ 2663825 w 2663825"/>
              <a:gd name="connsiteY2" fmla="*/ 182011 h 182011"/>
              <a:gd name="connsiteX3" fmla="*/ 0 w 2663825"/>
              <a:gd name="connsiteY3" fmla="*/ 182011 h 182011"/>
              <a:gd name="connsiteX4" fmla="*/ 0 w 2663825"/>
              <a:gd name="connsiteY4" fmla="*/ 0 h 182011"/>
              <a:gd name="connsiteX0" fmla="*/ 2663825 w 2755265"/>
              <a:gd name="connsiteY0" fmla="*/ 0 h 182011"/>
              <a:gd name="connsiteX1" fmla="*/ 2663825 w 2755265"/>
              <a:gd name="connsiteY1" fmla="*/ 182011 h 182011"/>
              <a:gd name="connsiteX2" fmla="*/ 0 w 2755265"/>
              <a:gd name="connsiteY2" fmla="*/ 182011 h 182011"/>
              <a:gd name="connsiteX3" fmla="*/ 0 w 2755265"/>
              <a:gd name="connsiteY3" fmla="*/ 0 h 182011"/>
              <a:gd name="connsiteX4" fmla="*/ 2755265 w 2755265"/>
              <a:gd name="connsiteY4" fmla="*/ 91440 h 182011"/>
              <a:gd name="connsiteX0" fmla="*/ 2663825 w 2663825"/>
              <a:gd name="connsiteY0" fmla="*/ 0 h 182011"/>
              <a:gd name="connsiteX1" fmla="*/ 2663825 w 2663825"/>
              <a:gd name="connsiteY1" fmla="*/ 182011 h 182011"/>
              <a:gd name="connsiteX2" fmla="*/ 0 w 2663825"/>
              <a:gd name="connsiteY2" fmla="*/ 182011 h 182011"/>
              <a:gd name="connsiteX3" fmla="*/ 0 w 2663825"/>
              <a:gd name="connsiteY3" fmla="*/ 0 h 182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3825" h="182011">
                <a:moveTo>
                  <a:pt x="2663825" y="0"/>
                </a:moveTo>
                <a:lnTo>
                  <a:pt x="2663825" y="182011"/>
                </a:lnTo>
                <a:lnTo>
                  <a:pt x="0" y="182011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indent="-180000" algn="ctr">
              <a:lnSpc>
                <a:spcPct val="113000"/>
              </a:lnSpc>
              <a:buFont typeface="Wingdings" panose="05000000000000000000" pitchFamily="2" charset="2"/>
              <a:buChar char="§"/>
            </a:pPr>
            <a:endParaRPr lang="de-DE" dirty="0"/>
          </a:p>
        </p:txBody>
      </p:sp>
      <p:sp>
        <p:nvSpPr>
          <p:cNvPr id="99" name="Textfeld 98">
            <a:extLst>
              <a:ext uri="{FF2B5EF4-FFF2-40B4-BE49-F238E27FC236}">
                <a16:creationId xmlns:a16="http://schemas.microsoft.com/office/drawing/2014/main" id="{E77A6775-C824-4927-B723-BD448B28A4C9}"/>
              </a:ext>
            </a:extLst>
          </p:cNvPr>
          <p:cNvSpPr txBox="1"/>
          <p:nvPr/>
        </p:nvSpPr>
        <p:spPr>
          <a:xfrm>
            <a:off x="3049265" y="5071176"/>
            <a:ext cx="2173673" cy="229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>
              <a:lnSpc>
                <a:spcPct val="113000"/>
              </a:lnSpc>
            </a:pPr>
            <a:r>
              <a:rPr lang="de-DE" sz="1400" dirty="0"/>
              <a:t>Weiter zu benutzende Farben</a:t>
            </a:r>
          </a:p>
        </p:txBody>
      </p:sp>
    </p:spTree>
    <p:extLst>
      <p:ext uri="{BB962C8B-B14F-4D97-AF65-F5344CB8AC3E}">
        <p14:creationId xmlns:p14="http://schemas.microsoft.com/office/powerpoint/2010/main" val="324982303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0928F21B-F68E-441C-924B-8DED33B04D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4994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9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0928F21B-F68E-441C-924B-8DED33B04D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id="{791976F2-0CDC-4F7E-8353-170F8729D1C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63D2C86-0A8D-418C-85CC-8E9CD671AE8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639602-5DD6-4D56-9C46-DEC39504A6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30</a:t>
            </a:fld>
            <a:endParaRPr lang="de-DE" dirty="0"/>
          </a:p>
        </p:txBody>
      </p:sp>
      <p:graphicFrame>
        <p:nvGraphicFramePr>
          <p:cNvPr id="16" name="Diagrammplatzhalter 20">
            <a:extLst>
              <a:ext uri="{FF2B5EF4-FFF2-40B4-BE49-F238E27FC236}">
                <a16:creationId xmlns:a16="http://schemas.microsoft.com/office/drawing/2014/main" id="{7769DA18-1C5A-48AA-A560-8DA0EA3289D4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695325" y="2457450"/>
          <a:ext cx="5292725" cy="3382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25CEB54-42B5-47BC-9DB6-581E3CBA7B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Platzhalter für die Werteinhei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B41B535-6939-47DC-AFCD-3E35357F178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Platzhalter für eine Quellenangab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6DF6B21-40D9-4FFC-9693-255C7803768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Platzhalter für den Diagrammtitel</a:t>
            </a:r>
          </a:p>
        </p:txBody>
      </p:sp>
      <p:graphicFrame>
        <p:nvGraphicFramePr>
          <p:cNvPr id="17" name="Diagrammplatzhalter 15">
            <a:extLst>
              <a:ext uri="{FF2B5EF4-FFF2-40B4-BE49-F238E27FC236}">
                <a16:creationId xmlns:a16="http://schemas.microsoft.com/office/drawing/2014/main" id="{868D2AE9-9957-4721-98EC-A5DE6A674509}"/>
              </a:ext>
            </a:extLst>
          </p:cNvPr>
          <p:cNvGraphicFramePr>
            <a:graphicFrameLocks noGrp="1"/>
          </p:cNvGraphicFramePr>
          <p:nvPr>
            <p:ph type="chart" sz="quarter" idx="18"/>
          </p:nvPr>
        </p:nvGraphicFramePr>
        <p:xfrm>
          <a:off x="6564313" y="2457450"/>
          <a:ext cx="5291137" cy="3382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51A2B1-FE70-4D0C-8016-6BE6725E7F3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Platzhalter für die Werteinheit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92298AE-71AC-4A31-98F5-6AEA6CB041A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Platzhalter für eine Quellenangab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932AA2E-934C-4209-9382-F3BCAF705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Platzhalter für den Diagrammtitel</a:t>
            </a: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43E80465-6DF8-471D-842B-00966874BC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lientitel </a:t>
            </a:r>
            <a:r>
              <a:rPr lang="de-DE" b="0" dirty="0"/>
              <a:t>(Ringdiagramm und Liniendiagramm)</a:t>
            </a:r>
          </a:p>
        </p:txBody>
      </p:sp>
    </p:spTree>
    <p:extLst>
      <p:ext uri="{BB962C8B-B14F-4D97-AF65-F5344CB8AC3E}">
        <p14:creationId xmlns:p14="http://schemas.microsoft.com/office/powerpoint/2010/main" val="145615387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606B87F-6AEF-46B8-AAB9-BC07629A54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4693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5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A6498A7E-75BA-415D-AF48-60917267014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F1DA6F3-C032-4356-B787-923F7E59C2E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90593B-A53C-47E0-899E-1F804E712C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FE3647D-32DD-4851-91C7-7DB867DE1D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ste Textebene: Subheadline</a:t>
            </a:r>
          </a:p>
          <a:p>
            <a:pPr lvl="1"/>
            <a:r>
              <a:rPr lang="de-DE" dirty="0"/>
              <a:t>Zweite Textebene: Einleitungstext</a:t>
            </a:r>
          </a:p>
          <a:p>
            <a:pPr lvl="2"/>
            <a:r>
              <a:rPr lang="de-DE" dirty="0"/>
              <a:t>Dritte Textebene: Erste Aufzählungsebene</a:t>
            </a:r>
          </a:p>
          <a:p>
            <a:pPr lvl="3"/>
            <a:r>
              <a:rPr lang="de-DE" dirty="0"/>
              <a:t>Vierte Textebene: Zweite Aufzählungsebene</a:t>
            </a:r>
          </a:p>
          <a:p>
            <a:pPr lvl="4"/>
            <a:r>
              <a:rPr lang="de-DE" dirty="0"/>
              <a:t>Fünfte Textebene: Dritte Aufzählungsebe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46400CC-21E2-44D9-9A0A-0B3A0E086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746" y="433121"/>
            <a:ext cx="7380000" cy="760208"/>
          </a:xfrm>
        </p:spPr>
        <p:txBody>
          <a:bodyPr/>
          <a:lstStyle/>
          <a:p>
            <a:r>
              <a:rPr lang="de-DE" dirty="0"/>
              <a:t>Platzhalter für den Folientitel</a:t>
            </a:r>
            <a:br>
              <a:rPr lang="de-DE" dirty="0"/>
            </a:br>
            <a:r>
              <a:rPr lang="de-DE" dirty="0"/>
              <a:t>(kann auch zweizeilig sein)</a:t>
            </a:r>
          </a:p>
        </p:txBody>
      </p:sp>
    </p:spTree>
    <p:extLst>
      <p:ext uri="{BB962C8B-B14F-4D97-AF65-F5344CB8AC3E}">
        <p14:creationId xmlns:p14="http://schemas.microsoft.com/office/powerpoint/2010/main" val="277171557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6251CBC7-31BD-440D-B23B-2426251B88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6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6251CBC7-31BD-440D-B23B-2426251B88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B572DF7D-7EA2-4982-836F-98C106D026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B3BBD0F-E8ED-424A-97C4-B7DE3186D0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7B1D701-E942-4E6A-A75A-4873C7156E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E36FEF-58B6-4EB9-B91C-71F0AD98DD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ste Textebene: Subheadline</a:t>
            </a:r>
          </a:p>
          <a:p>
            <a:pPr lvl="1"/>
            <a:r>
              <a:rPr lang="de-DE" dirty="0"/>
              <a:t>Zweite Textebene: Einleitungstext</a:t>
            </a:r>
          </a:p>
          <a:p>
            <a:pPr lvl="2"/>
            <a:r>
              <a:rPr lang="de-DE" dirty="0"/>
              <a:t>Dritte Textebene: Erste Aufzählungsebene</a:t>
            </a:r>
          </a:p>
          <a:p>
            <a:pPr lvl="3"/>
            <a:r>
              <a:rPr lang="de-DE" dirty="0"/>
              <a:t>Vierte Textebene: Zweite Aufzählungsebene</a:t>
            </a:r>
          </a:p>
          <a:p>
            <a:pPr lvl="4"/>
            <a:r>
              <a:rPr lang="de-DE" dirty="0"/>
              <a:t>Fünfte Textebene: Dritte Aufzählungs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2D5E6D7-4966-440E-8DAC-3B8BF5D021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746" y="433121"/>
            <a:ext cx="7380000" cy="760208"/>
          </a:xfrm>
        </p:spPr>
        <p:txBody>
          <a:bodyPr/>
          <a:lstStyle/>
          <a:p>
            <a:r>
              <a:rPr lang="de-DE" dirty="0"/>
              <a:t>Platzhalter für den Folientitel</a:t>
            </a:r>
            <a:br>
              <a:rPr lang="de-DE" dirty="0"/>
            </a:br>
            <a:r>
              <a:rPr lang="de-DE" dirty="0"/>
              <a:t>(kann auch zweizeilig sein)</a:t>
            </a:r>
          </a:p>
        </p:txBody>
      </p:sp>
      <p:pic>
        <p:nvPicPr>
          <p:cNvPr id="18" name="Bildplatzhalter 17" descr="Ein Bild, das suchend enthält.&#10;&#10;Automatisch generierte Beschreibung">
            <a:extLst>
              <a:ext uri="{FF2B5EF4-FFF2-40B4-BE49-F238E27FC236}">
                <a16:creationId xmlns:a16="http://schemas.microsoft.com/office/drawing/2014/main" id="{4F8DBB61-CC83-4989-A46F-36C8253DA14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7"/>
          <a:srcRect l="5737" r="573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97149756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B1EB32AB-1B3F-427C-AF95-A76401428E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325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5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B1EB32AB-1B3F-427C-AF95-A76401428E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6352216D-EE02-49F1-843A-F8858383831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7" name="Bildplatzhalter 6" descr="Ein Bild, das Person, draußen, Frau, Gebäude enthält.&#10;&#10;Automatisch generierte Beschreibung">
            <a:extLst>
              <a:ext uri="{FF2B5EF4-FFF2-40B4-BE49-F238E27FC236}">
                <a16:creationId xmlns:a16="http://schemas.microsoft.com/office/drawing/2014/main" id="{991C954E-9B54-4BCE-B574-ADC2FEACE5A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" r="267"/>
          <a:stretch/>
        </p:blipFill>
        <p:spPr/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54484DE-27C4-44E5-855D-823B3A1C70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4EF4BE-77EE-492E-8658-B62A90368B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C95934D-D4B1-4B07-BC51-FE0D03FBDC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E5320128-A182-4EDF-873D-D1D7B7CE10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Platzhalter für den Folientitel</a:t>
            </a:r>
            <a:br>
              <a:rPr lang="de-DE"/>
            </a:br>
            <a:r>
              <a:rPr lang="de-DE"/>
              <a:t>(kann auch zweizeilig sein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739095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E159C7FE-ECBD-4996-A7B7-B3CF18C2A66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3417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8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E159C7FE-ECBD-4996-A7B7-B3CF18C2A6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9F0B781-CD73-4E4D-A3EB-B33FCC19113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3" name="Bildplatzhalter 2" descr="Ein Bild, das Person, Mann, haltend, blau enthält.&#10;&#10;Automatisch generierte Beschreibung">
            <a:extLst>
              <a:ext uri="{FF2B5EF4-FFF2-40B4-BE49-F238E27FC236}">
                <a16:creationId xmlns:a16="http://schemas.microsoft.com/office/drawing/2014/main" id="{3D8BA74D-E489-4D90-B4D7-2A9C4AC05A3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" b="43"/>
          <a:stretch/>
        </p:blipFill>
        <p:spPr/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54484DE-27C4-44E5-855D-823B3A1C70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4EF4BE-77EE-492E-8658-B62A90368B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5718D31-D4BE-4231-AA61-448C3F483CC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9" name="Titel 28">
            <a:extLst>
              <a:ext uri="{FF2B5EF4-FFF2-40B4-BE49-F238E27FC236}">
                <a16:creationId xmlns:a16="http://schemas.microsoft.com/office/drawing/2014/main" id="{DA2BF87C-2444-407F-A053-CB90C6037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Platzhalter für den Folientitel</a:t>
            </a:r>
            <a:br>
              <a:rPr lang="de-DE"/>
            </a:br>
            <a:r>
              <a:rPr lang="de-DE"/>
              <a:t>(kann auch zweizeilig sein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436226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23D7739E-604C-4A33-A41C-FD51F9841B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4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23D7739E-604C-4A33-A41C-FD51F9841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86C19D7F-61FA-46D2-9803-682CE8A6BE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B1C6665-7E17-49C9-AECA-5DFBB09D0D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B998745-0340-4E48-BC51-7222997B812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BEE2A77-09BE-430E-BE2C-28A787A20A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Platzhalter für die Werteinhei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A129BA2-49DC-4B74-AAD5-EF386597767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Platzhalter für eine Quellenangab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9E988D0-DCA7-4AAD-9004-C0D626C1A0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Platzhalter für den Diagrammtitel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C3ED4A6-6452-4C8B-B95E-B1BD28A0BE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ste Textebene: Subheadline</a:t>
            </a:r>
          </a:p>
          <a:p>
            <a:pPr lvl="1"/>
            <a:r>
              <a:rPr lang="de-DE" dirty="0"/>
              <a:t>Zweite Textebene: Einleitungstext</a:t>
            </a:r>
          </a:p>
          <a:p>
            <a:pPr lvl="2"/>
            <a:r>
              <a:rPr lang="de-DE" dirty="0"/>
              <a:t>Dritte Textebene: Erste Aufzählungsebene</a:t>
            </a:r>
          </a:p>
          <a:p>
            <a:pPr lvl="3"/>
            <a:r>
              <a:rPr lang="de-DE" dirty="0"/>
              <a:t>Vierte Textebene: Zweite Aufzählungsebene</a:t>
            </a:r>
          </a:p>
          <a:p>
            <a:pPr lvl="4"/>
            <a:r>
              <a:rPr lang="de-DE" dirty="0"/>
              <a:t>Fünfte Textebene: Dritte Aufzählungsebene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719CD8FE-C83E-49D9-806C-98CE713B13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746" y="433121"/>
            <a:ext cx="7380000" cy="760208"/>
          </a:xfrm>
        </p:spPr>
        <p:txBody>
          <a:bodyPr/>
          <a:lstStyle/>
          <a:p>
            <a:r>
              <a:rPr lang="de-DE" dirty="0"/>
              <a:t>Platzhalter für den Folientitel</a:t>
            </a:r>
            <a:br>
              <a:rPr lang="de-DE" dirty="0"/>
            </a:br>
            <a:r>
              <a:rPr lang="de-DE" b="0" dirty="0"/>
              <a:t>Balkendiagramm</a:t>
            </a:r>
          </a:p>
        </p:txBody>
      </p:sp>
      <p:graphicFrame>
        <p:nvGraphicFramePr>
          <p:cNvPr id="12" name="Diagrammplatzhalter 16">
            <a:extLst>
              <a:ext uri="{FF2B5EF4-FFF2-40B4-BE49-F238E27FC236}">
                <a16:creationId xmlns:a16="http://schemas.microsoft.com/office/drawing/2014/main" id="{B8067461-8D45-4834-8D97-7265D239B4F8}"/>
              </a:ext>
            </a:extLst>
          </p:cNvPr>
          <p:cNvGraphicFramePr>
            <a:graphicFrameLocks noGrp="1"/>
          </p:cNvGraphicFramePr>
          <p:nvPr>
            <p:ph type="chart" sz="quarter" idx="14"/>
          </p:nvPr>
        </p:nvGraphicFramePr>
        <p:xfrm>
          <a:off x="5594350" y="2924175"/>
          <a:ext cx="6262688" cy="2916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7711850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B0243F5-AA38-4B26-AD15-D9C58A798D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7747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0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8749DC3B-22CE-4A47-922E-CC82857C4E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B9B6F9E-C738-492C-8CD8-F1397FAB11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4F6BE5E-B163-4315-B316-D7BBDB4A16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36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B1A664-EDBD-4F0A-A02C-BCE844E7F41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latzhalter für den Untertitel (optional)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0872576-95B1-4394-80CE-14651A10F6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ste Textebene: Subheadline</a:t>
            </a:r>
          </a:p>
          <a:p>
            <a:pPr lvl="1"/>
            <a:r>
              <a:rPr lang="de-DE" dirty="0"/>
              <a:t>Zweite Textebene: Einleitungstext</a:t>
            </a:r>
          </a:p>
          <a:p>
            <a:pPr lvl="2"/>
            <a:r>
              <a:rPr lang="de-DE" dirty="0"/>
              <a:t>Dritte Textebene: Erste Aufzählungsebene</a:t>
            </a:r>
          </a:p>
          <a:p>
            <a:pPr lvl="3"/>
            <a:r>
              <a:rPr lang="de-DE" dirty="0"/>
              <a:t>Vierte Textebene: Zweite Aufzählungsebene</a:t>
            </a:r>
          </a:p>
          <a:p>
            <a:pPr lvl="4"/>
            <a:r>
              <a:rPr lang="de-DE" dirty="0"/>
              <a:t>Fünfte Textebene: Dritte Aufzählungs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6AE6632-5DF1-4FE1-8661-875E51882D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400" y="908373"/>
            <a:ext cx="9792000" cy="380104"/>
          </a:xfrm>
        </p:spPr>
        <p:txBody>
          <a:bodyPr/>
          <a:lstStyle/>
          <a:p>
            <a:r>
              <a:rPr lang="de-DE" dirty="0"/>
              <a:t>Platzhalter für den Folientitel (kann auch zweizeilig sein)</a:t>
            </a:r>
          </a:p>
        </p:txBody>
      </p:sp>
    </p:spTree>
    <p:extLst>
      <p:ext uri="{BB962C8B-B14F-4D97-AF65-F5344CB8AC3E}">
        <p14:creationId xmlns:p14="http://schemas.microsoft.com/office/powerpoint/2010/main" val="23550769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B6A27EB-FA69-4A61-86EA-B681E59C66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608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8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664FDDB5-6D95-4BBD-9F56-77E048FB4D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B6F884-A1DC-4FA9-80BF-B4291BEACC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9BA65AD-AE65-4392-BC20-219D3B68F5C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4BDBFFB-84E7-4A49-ACD7-9EAEF157001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latzhalter für den Untertitel (optional)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BFC3FA5-5767-47A7-97BA-5CA8EB71C0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ste Textebene: Subheadline</a:t>
            </a:r>
          </a:p>
          <a:p>
            <a:pPr lvl="1"/>
            <a:r>
              <a:rPr lang="de-DE" dirty="0"/>
              <a:t>Zweite Textebene: Einleitungstext</a:t>
            </a:r>
          </a:p>
          <a:p>
            <a:pPr lvl="2"/>
            <a:r>
              <a:rPr lang="de-DE" dirty="0"/>
              <a:t>Dritte Textebene: Erste Aufzählungsebene</a:t>
            </a:r>
          </a:p>
          <a:p>
            <a:pPr lvl="3"/>
            <a:r>
              <a:rPr lang="de-DE" dirty="0"/>
              <a:t>Vierte Textebene: Zweite Aufzählungsebene</a:t>
            </a:r>
          </a:p>
          <a:p>
            <a:pPr lvl="4"/>
            <a:r>
              <a:rPr lang="de-DE" dirty="0"/>
              <a:t>Fünfte Textebene: Dritte Aufzählungsebe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A024B2-18ED-40B6-B281-19E10D7E65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Erste Textebene: Subheadline</a:t>
            </a:r>
          </a:p>
          <a:p>
            <a:pPr lvl="1"/>
            <a:r>
              <a:rPr lang="de-DE" dirty="0"/>
              <a:t>Zweite Textebene: Einleitungstext</a:t>
            </a:r>
          </a:p>
          <a:p>
            <a:pPr lvl="2"/>
            <a:r>
              <a:rPr lang="de-DE" dirty="0"/>
              <a:t>Dritte Textebene: Erste Aufzählungsebene</a:t>
            </a:r>
          </a:p>
          <a:p>
            <a:pPr lvl="3"/>
            <a:r>
              <a:rPr lang="de-DE" dirty="0"/>
              <a:t>Vierte Textebene: Zweite Aufzählungsebene</a:t>
            </a:r>
          </a:p>
          <a:p>
            <a:pPr lvl="4"/>
            <a:r>
              <a:rPr lang="de-DE" dirty="0"/>
              <a:t>Fünfte Textebene: Dritte Aufzählungsebe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D60E83AB-B27F-4F8A-A92A-B8E8B60F4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latzhalter für den Folientitel (kann auch zweizeilig sein)</a:t>
            </a:r>
          </a:p>
        </p:txBody>
      </p:sp>
    </p:spTree>
    <p:extLst>
      <p:ext uri="{BB962C8B-B14F-4D97-AF65-F5344CB8AC3E}">
        <p14:creationId xmlns:p14="http://schemas.microsoft.com/office/powerpoint/2010/main" val="402905447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08C1F7B-0919-4F4C-8B9D-ECD51D0E32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3597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0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B460A914-6F3C-457A-B74C-644B630D39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90940E6-14CE-4D16-9768-97AA166C6DB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5177FED-ED3D-4181-B18D-2B27F3EE05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38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2DD0AD3-F620-415C-BCD1-A874A469AE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latzhalter für den Untertitel (optional)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0EFE5BB-9C98-4935-8467-E9D28CAB74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ste Textebene: Subheadline</a:t>
            </a:r>
          </a:p>
          <a:p>
            <a:pPr lvl="1"/>
            <a:r>
              <a:rPr lang="de-DE" dirty="0"/>
              <a:t>Zweite Textebene: Einleitungstext</a:t>
            </a:r>
          </a:p>
          <a:p>
            <a:pPr lvl="2"/>
            <a:r>
              <a:rPr lang="de-DE" dirty="0"/>
              <a:t>Dritte Textebene: Erste Aufzählungsebene</a:t>
            </a:r>
          </a:p>
          <a:p>
            <a:pPr lvl="3"/>
            <a:r>
              <a:rPr lang="de-DE" dirty="0"/>
              <a:t>Vierte Textebene: Zweite Aufzählungsebene</a:t>
            </a:r>
          </a:p>
          <a:p>
            <a:pPr lvl="4"/>
            <a:r>
              <a:rPr lang="de-DE" dirty="0"/>
              <a:t>Fünfte Textebene: Dritte Aufzählungsebe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DB74623-ED74-41AB-A129-F34C8D50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latzhalter für den Folientitel (kann auch zweizeilig sein)</a:t>
            </a:r>
          </a:p>
        </p:txBody>
      </p:sp>
      <p:pic>
        <p:nvPicPr>
          <p:cNvPr id="8" name="Bildplatzhalter 9">
            <a:extLst>
              <a:ext uri="{FF2B5EF4-FFF2-40B4-BE49-F238E27FC236}">
                <a16:creationId xmlns:a16="http://schemas.microsoft.com/office/drawing/2014/main" id="{A29A728A-860B-4626-86D0-F520C48E71A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427" b="17427"/>
          <a:stretch/>
        </p:blipFill>
        <p:spPr bwMode="gray">
          <a:xfrm>
            <a:off x="8616950" y="1844675"/>
            <a:ext cx="3240088" cy="3167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85347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7140F97-255A-41E8-821C-C163C47C18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2628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5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E3A038B3-11D5-493E-98A4-9FF963ACFC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81F61B2-EA92-43AC-B65B-951A632BEAE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23868" y="6449956"/>
            <a:ext cx="6480000" cy="161583"/>
          </a:xfrm>
        </p:spPr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7EAB421-51A6-4AA3-8B44-D8B090D761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04920" y="6449956"/>
            <a:ext cx="288000" cy="161583"/>
          </a:xfrm>
        </p:spPr>
        <p:txBody>
          <a:bodyPr/>
          <a:lstStyle/>
          <a:p>
            <a:fld id="{1925EFE5-409A-4263-AA86-E37B8055B6A0}" type="slidenum">
              <a:rPr lang="de-DE" smtClean="0"/>
              <a:pPr/>
              <a:t>39</a:t>
            </a:fld>
            <a:endParaRPr lang="de-DE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2697855-D1B7-4062-A4B9-F804C24B15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latzhalter für den Untertitel (optional)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3FD9D16-79EB-4459-B9EA-142494B8B0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400" y="1844824"/>
            <a:ext cx="5508000" cy="4176000"/>
          </a:xfrm>
        </p:spPr>
        <p:txBody>
          <a:bodyPr/>
          <a:lstStyle/>
          <a:p>
            <a:r>
              <a:rPr lang="de-DE" dirty="0"/>
              <a:t>Erste Textebene: Subheadline</a:t>
            </a:r>
          </a:p>
          <a:p>
            <a:pPr lvl="1"/>
            <a:r>
              <a:rPr lang="de-DE" dirty="0"/>
              <a:t>Zweite Textebene: Einleitungstext</a:t>
            </a:r>
          </a:p>
          <a:p>
            <a:pPr lvl="2"/>
            <a:r>
              <a:rPr lang="de-DE" dirty="0"/>
              <a:t>Dritte Textebene: Erste Aufzählungsebene</a:t>
            </a:r>
          </a:p>
          <a:p>
            <a:pPr lvl="3"/>
            <a:r>
              <a:rPr lang="de-DE" dirty="0"/>
              <a:t>Vierte Textebene: Zweite Aufzählungsebene</a:t>
            </a:r>
          </a:p>
          <a:p>
            <a:pPr lvl="4"/>
            <a:r>
              <a:rPr lang="de-DE" dirty="0"/>
              <a:t>Fünfte Textebene: Dritte Aufzählungsebe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31894621-FFD8-42D7-8E03-C1D631A9B8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400" y="908373"/>
            <a:ext cx="9792000" cy="380104"/>
          </a:xfrm>
        </p:spPr>
        <p:txBody>
          <a:bodyPr/>
          <a:lstStyle/>
          <a:p>
            <a:r>
              <a:rPr lang="de-DE" dirty="0"/>
              <a:t>Platzhalter für den Folientitel (kann auch zweizeilig sein)</a:t>
            </a:r>
          </a:p>
        </p:txBody>
      </p:sp>
      <p:pic>
        <p:nvPicPr>
          <p:cNvPr id="32" name="Bildplatzhalter 31">
            <a:extLst>
              <a:ext uri="{FF2B5EF4-FFF2-40B4-BE49-F238E27FC236}">
                <a16:creationId xmlns:a16="http://schemas.microsoft.com/office/drawing/2014/main" id="{AA09933C-0016-4172-B42C-7C226AAD491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7"/>
          <a:srcRect l="7354" t="1183" r="6111" b="12242"/>
          <a:stretch/>
        </p:blipFill>
        <p:spPr>
          <a:xfrm>
            <a:off x="5592640" y="1844823"/>
            <a:ext cx="6264000" cy="4176000"/>
          </a:xfrm>
        </p:spPr>
      </p:pic>
    </p:spTree>
    <p:extLst>
      <p:ext uri="{BB962C8B-B14F-4D97-AF65-F5344CB8AC3E}">
        <p14:creationId xmlns:p14="http://schemas.microsoft.com/office/powerpoint/2010/main" val="24439095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CF16498-F0B8-4FB2-AE0F-DC77A7430D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0411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2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CF16498-F0B8-4FB2-AE0F-DC77A7430D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763201C-56F5-4672-AED9-FC4BFFDB7ED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A97BBB4-9E64-4FD2-9CAA-918D805A15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69D1C8F-2065-4306-9376-C382917EEC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B9DCB48-3DB4-4F97-8CA8-960E44DBB3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ste Textebene: Subheadline</a:t>
            </a:r>
          </a:p>
          <a:p>
            <a:pPr lvl="1"/>
            <a:r>
              <a:rPr lang="de-DE" dirty="0"/>
              <a:t>Zweite Textebene: Einleitungstext</a:t>
            </a:r>
          </a:p>
          <a:p>
            <a:pPr lvl="2"/>
            <a:r>
              <a:rPr lang="de-DE" dirty="0"/>
              <a:t>Dritte Textebene: Erste Aufzählungsebene</a:t>
            </a:r>
          </a:p>
          <a:p>
            <a:pPr lvl="3"/>
            <a:r>
              <a:rPr lang="de-DE" dirty="0"/>
              <a:t>Vierte Textebene: Zweite Aufzählungsebene</a:t>
            </a:r>
          </a:p>
          <a:p>
            <a:pPr lvl="4"/>
            <a:r>
              <a:rPr lang="de-DE" dirty="0"/>
              <a:t>Fünfte Textebene: Dritte Aufzählungsebene</a:t>
            </a:r>
          </a:p>
          <a:p>
            <a:pPr lvl="2"/>
            <a:endParaRPr lang="de-DE" dirty="0"/>
          </a:p>
          <a:p>
            <a:pPr lvl="1"/>
            <a:r>
              <a:rPr lang="de-DE" dirty="0"/>
              <a:t>Texthervorhebungen werden </a:t>
            </a:r>
            <a:r>
              <a:rPr lang="de-DE" b="1" dirty="0"/>
              <a:t>durch fetten Text dargestellt</a:t>
            </a:r>
            <a:r>
              <a:rPr lang="de-DE" dirty="0"/>
              <a:t>.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2742C94-6AE0-405B-BB33-7FEA04DD90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chsel zwischen den Textebenen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2CE85C1C-11B7-4FC0-B13F-227FEBB56994}"/>
              </a:ext>
            </a:extLst>
          </p:cNvPr>
          <p:cNvSpPr/>
          <p:nvPr/>
        </p:nvSpPr>
        <p:spPr bwMode="gray">
          <a:xfrm>
            <a:off x="695399" y="4365104"/>
            <a:ext cx="5868913" cy="1651734"/>
          </a:xfrm>
          <a:prstGeom prst="rect">
            <a:avLst/>
          </a:prstGeom>
          <a:solidFill>
            <a:schemeClr val="bg1"/>
          </a:solidFill>
          <a:ln w="6350">
            <a:solidFill>
              <a:srgbClr val="9A9A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t" anchorCtr="0">
            <a:spAutoFit/>
          </a:bodyPr>
          <a:lstStyle/>
          <a:p>
            <a:pPr marL="0" lvl="1" fontAlgn="base">
              <a:spcBef>
                <a:spcPts val="800"/>
              </a:spcBef>
              <a:buClr>
                <a:schemeClr val="accent2"/>
              </a:buClr>
              <a:buSzPct val="120000"/>
            </a:pPr>
            <a:r>
              <a:rPr lang="de-DE" b="1" dirty="0">
                <a:solidFill>
                  <a:schemeClr val="tx1"/>
                </a:solidFill>
              </a:rPr>
              <a:t>Erläuterung</a:t>
            </a:r>
          </a:p>
          <a:p>
            <a:pPr marL="0" lvl="1" fontAlgn="base">
              <a:spcBef>
                <a:spcPts val="400"/>
              </a:spcBef>
              <a:buClr>
                <a:schemeClr val="accent2"/>
              </a:buClr>
              <a:buSzPct val="120000"/>
            </a:pPr>
            <a:r>
              <a:rPr lang="de-DE" sz="1600" dirty="0">
                <a:solidFill>
                  <a:schemeClr val="tx1"/>
                </a:solidFill>
              </a:rPr>
              <a:t>Um zwischen den Ebenen sauber hin und her springen zu können, sollten Sie unbedingt mit den Befehlen „Listenebene verringern“ </a:t>
            </a:r>
            <a:br>
              <a:rPr lang="de-DE" sz="1600" dirty="0">
                <a:solidFill>
                  <a:schemeClr val="tx1"/>
                </a:solidFill>
              </a:rPr>
            </a:br>
            <a:r>
              <a:rPr lang="de-DE" sz="1600" dirty="0">
                <a:solidFill>
                  <a:schemeClr val="tx1"/>
                </a:solidFill>
              </a:rPr>
              <a:t>und „Listenebene erhöhen“ arbeiten. Bitte die betreffende Zeile markieren und die rot umrahmten Schaltflächen (s. rechte Abbildung) nutzen.</a:t>
            </a:r>
          </a:p>
        </p:txBody>
      </p:sp>
      <p:grpSp>
        <p:nvGrpSpPr>
          <p:cNvPr id="101" name="Gruppieren 14">
            <a:extLst>
              <a:ext uri="{FF2B5EF4-FFF2-40B4-BE49-F238E27FC236}">
                <a16:creationId xmlns:a16="http://schemas.microsoft.com/office/drawing/2014/main" id="{D77D58E6-FE84-4526-8E5C-324F4FA440C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924092" y="4365104"/>
            <a:ext cx="4931308" cy="1251735"/>
            <a:chOff x="4643438" y="3039802"/>
            <a:chExt cx="4028005" cy="1022399"/>
          </a:xfrm>
        </p:grpSpPr>
        <p:pic>
          <p:nvPicPr>
            <p:cNvPr id="102" name="Grafik 15">
              <a:extLst>
                <a:ext uri="{FF2B5EF4-FFF2-40B4-BE49-F238E27FC236}">
                  <a16:creationId xmlns:a16="http://schemas.microsoft.com/office/drawing/2014/main" id="{D3EAA2E2-29DD-43FA-9FE1-4DE7879C5A3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643438" y="3039802"/>
              <a:ext cx="4028005" cy="1022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" name="Rechteck 102">
              <a:extLst>
                <a:ext uri="{FF2B5EF4-FFF2-40B4-BE49-F238E27FC236}">
                  <a16:creationId xmlns:a16="http://schemas.microsoft.com/office/drawing/2014/main" id="{EBABFEE2-F407-43FC-840C-74DE15D36DBE}"/>
                </a:ext>
              </a:extLst>
            </p:cNvPr>
            <p:cNvSpPr/>
            <p:nvPr/>
          </p:nvSpPr>
          <p:spPr bwMode="gray">
            <a:xfrm>
              <a:off x="5519158" y="3084590"/>
              <a:ext cx="749074" cy="362936"/>
            </a:xfrm>
            <a:prstGeom prst="rect">
              <a:avLst/>
            </a:prstGeom>
            <a:noFill/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285750" indent="-285750" algn="ctr">
                <a:spcBef>
                  <a:spcPts val="800"/>
                </a:spcBef>
                <a:buClr>
                  <a:schemeClr val="accent1"/>
                </a:buClr>
                <a:buSzPct val="120000"/>
                <a:buFont typeface="Arial" pitchFamily="34" charset="0"/>
                <a:buChar char="&gt;"/>
                <a:defRPr/>
              </a:pPr>
              <a:endParaRPr lang="de-DE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229452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A707F384-06D3-408F-B972-D112775C6D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9102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2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57EFD699-691B-4E7A-8EE8-C63131D8484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91E90A4-AF71-466C-ADEB-9C09BCC1F7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ADA90B-F825-47FC-8ABF-F36A222D75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40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1DC2F51-726F-4E4B-BD10-9927AD752F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Platzhalter für den Untertitel (optional)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F218814-D852-4129-A634-D4887E21FF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ste Textebene: Subheadline</a:t>
            </a:r>
          </a:p>
          <a:p>
            <a:pPr lvl="1"/>
            <a:r>
              <a:rPr lang="de-DE" dirty="0"/>
              <a:t>Einleitungstext</a:t>
            </a:r>
          </a:p>
          <a:p>
            <a:pPr lvl="2"/>
            <a:r>
              <a:rPr lang="de-DE" dirty="0"/>
              <a:t>Erste Aufzählungsebene</a:t>
            </a:r>
          </a:p>
          <a:p>
            <a:pPr lvl="3"/>
            <a:r>
              <a:rPr lang="de-DE" dirty="0"/>
              <a:t>Zweite Aufzählungsebene</a:t>
            </a:r>
          </a:p>
          <a:p>
            <a:pPr lvl="4"/>
            <a:r>
              <a:rPr lang="de-DE" dirty="0"/>
              <a:t>Dritte Aufzählungsebene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B990D92B-C6AE-4C8C-8AC2-2EE8C874C5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latzhalter für den Folientitel (kann auch zweizeilig sein)</a:t>
            </a:r>
          </a:p>
        </p:txBody>
      </p:sp>
      <p:pic>
        <p:nvPicPr>
          <p:cNvPr id="11" name="Bildplatzhalter 20">
            <a:extLst>
              <a:ext uri="{FF2B5EF4-FFF2-40B4-BE49-F238E27FC236}">
                <a16:creationId xmlns:a16="http://schemas.microsoft.com/office/drawing/2014/main" id="{15B2F6A2-0BCD-4CDF-B362-3B896CFE56E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" r="22"/>
          <a:stretch/>
        </p:blipFill>
        <p:spPr bwMode="gray">
          <a:xfrm>
            <a:off x="695325" y="1844675"/>
            <a:ext cx="6264275" cy="4176713"/>
          </a:xfrm>
          <a:prstGeom prst="rect">
            <a:avLst/>
          </a:prstGeom>
        </p:spPr>
      </p:pic>
      <p:pic>
        <p:nvPicPr>
          <p:cNvPr id="12" name="Bildplatzhalter 19">
            <a:extLst>
              <a:ext uri="{FF2B5EF4-FFF2-40B4-BE49-F238E27FC236}">
                <a16:creationId xmlns:a16="http://schemas.microsoft.com/office/drawing/2014/main" id="{375AA66A-D91D-4802-9A46-A6194CC6E51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63" b="36839"/>
          <a:stretch/>
        </p:blipFill>
        <p:spPr bwMode="gray">
          <a:xfrm>
            <a:off x="7321550" y="1844675"/>
            <a:ext cx="4535488" cy="2517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61452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269FC858-9A42-4C8A-9ADD-F687FE87AA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0788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7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7DC9AE7E-5C2C-450D-A417-9B0F72EFBE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D4A7DAE-E361-4288-82EB-225F561689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60EB93A-A68F-4371-9891-293B50736A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41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590CE60-ADAE-4325-BFFB-8F97F470E5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2"/>
            <a:r>
              <a:rPr lang="de-DE" dirty="0"/>
              <a:t>Wir laden ein und machen Mut zur Gemeinschaft.</a:t>
            </a:r>
          </a:p>
          <a:p>
            <a:pPr lvl="2"/>
            <a:r>
              <a:rPr lang="de-DE" dirty="0"/>
              <a:t>Wir handeln im Auftrag Jesu Christi.</a:t>
            </a:r>
          </a:p>
          <a:p>
            <a:pPr lvl="2"/>
            <a:r>
              <a:rPr lang="de-DE" dirty="0"/>
              <a:t>Wir nehmen uns Adolph Kolping zum Vorbild.</a:t>
            </a:r>
          </a:p>
          <a:p>
            <a:pPr lvl="2"/>
            <a:r>
              <a:rPr lang="de-DE" dirty="0"/>
              <a:t>Wir sind in der Kirche zu Hause.</a:t>
            </a:r>
          </a:p>
          <a:p>
            <a:pPr lvl="2"/>
            <a:r>
              <a:rPr lang="de-DE" dirty="0"/>
              <a:t>Wir sind eine </a:t>
            </a:r>
            <a:r>
              <a:rPr lang="de-DE" dirty="0" err="1"/>
              <a:t>generationenübergreifende</a:t>
            </a:r>
            <a:r>
              <a:rPr lang="de-DE" dirty="0"/>
              <a:t> familienhafte Gemeinschaft.</a:t>
            </a:r>
          </a:p>
          <a:p>
            <a:pPr lvl="2"/>
            <a:r>
              <a:rPr lang="de-DE" dirty="0"/>
              <a:t>Wir prägen als katholischer Sozialverband die Gesellschaft mit.</a:t>
            </a:r>
          </a:p>
          <a:p>
            <a:pPr lvl="2"/>
            <a:r>
              <a:rPr lang="de-DE" dirty="0"/>
              <a:t>Wir begleiten Menschen in ihrer persönlichen und beruflichen Bildung.</a:t>
            </a:r>
          </a:p>
          <a:p>
            <a:pPr lvl="2"/>
            <a:r>
              <a:rPr lang="de-DE" dirty="0"/>
              <a:t>Wir eröffnen Perspektiven </a:t>
            </a:r>
            <a:r>
              <a:rPr lang="de-DE" dirty="0" err="1"/>
              <a:t>für</a:t>
            </a:r>
            <a:r>
              <a:rPr lang="de-DE" dirty="0"/>
              <a:t> junge Menschen.</a:t>
            </a:r>
          </a:p>
          <a:p>
            <a:pPr lvl="2"/>
            <a:r>
              <a:rPr lang="de-DE" dirty="0"/>
              <a:t>Wir vertreten ein christliches Arbeitsverständnis.</a:t>
            </a:r>
          </a:p>
          <a:p>
            <a:pPr lvl="2"/>
            <a:r>
              <a:rPr lang="de-DE" dirty="0"/>
              <a:t>Wir verstehen uns als Anwalt </a:t>
            </a:r>
            <a:r>
              <a:rPr lang="de-DE" dirty="0" err="1"/>
              <a:t>für</a:t>
            </a:r>
            <a:r>
              <a:rPr lang="de-DE" dirty="0"/>
              <a:t> Familie.</a:t>
            </a:r>
          </a:p>
          <a:p>
            <a:pPr lvl="2"/>
            <a:r>
              <a:rPr lang="de-DE" dirty="0"/>
              <a:t>Wir spannen ein weltweites Netz der Partnerschaft.</a:t>
            </a:r>
          </a:p>
          <a:p>
            <a:pPr lvl="2"/>
            <a:r>
              <a:rPr lang="de-DE" dirty="0"/>
              <a:t>Wir leben verantwortlich und handeln solidarisch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14E1BC2-55FD-4993-BEBF-5B43C91ED8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lping in 12 Sätzen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081B702-FFE7-4FF7-B826-60DBAA48BBC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9589" y="1510222"/>
            <a:ext cx="3704476" cy="3674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53199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82D4EA07-017E-4CFE-8E80-04939F566C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1519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2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C3A65A57-8A40-40DF-80F9-37A027195E5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933BA48-7EA4-4798-AFA8-5AEB96A5BA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587B9DE-46C1-4EEE-AE94-5432BEB3C3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42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5173197-054A-4427-B842-D61936163C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Säulendiagram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E97C419-1A2C-49B3-B265-5684632B4F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Platzhalter für die Werteinhei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1F493AA-B5B2-47ED-9062-F7416883F0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325" y="5897215"/>
            <a:ext cx="11160000" cy="124073"/>
          </a:xfrm>
        </p:spPr>
        <p:txBody>
          <a:bodyPr/>
          <a:lstStyle/>
          <a:p>
            <a:r>
              <a:rPr lang="de-DE" dirty="0"/>
              <a:t>Platzhalter für eine Quellenangab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188E5EA-D3A4-49D8-A4DE-78296567180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Platzhalter für den Diagrammtit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D611A852-1C48-4282-82D4-12460893CA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latzhalter für den Folientitel (kann auch zweizeilig sein)</a:t>
            </a:r>
          </a:p>
        </p:txBody>
      </p:sp>
      <p:graphicFrame>
        <p:nvGraphicFramePr>
          <p:cNvPr id="10" name="Diagrammplatzhalter 11">
            <a:extLst>
              <a:ext uri="{FF2B5EF4-FFF2-40B4-BE49-F238E27FC236}">
                <a16:creationId xmlns:a16="http://schemas.microsoft.com/office/drawing/2014/main" id="{FCD55292-F57A-445B-B464-EFC8754B5A57}"/>
              </a:ext>
            </a:extLst>
          </p:cNvPr>
          <p:cNvGraphicFramePr>
            <a:graphicFrameLocks noGrp="1"/>
          </p:cNvGraphicFramePr>
          <p:nvPr>
            <p:ph type="chart" sz="quarter" idx="14"/>
            <p:extLst>
              <p:ext uri="{D42A27DB-BD31-4B8C-83A1-F6EECF244321}">
                <p14:modId xmlns:p14="http://schemas.microsoft.com/office/powerpoint/2010/main" val="2957725005"/>
              </p:ext>
            </p:extLst>
          </p:nvPr>
        </p:nvGraphicFramePr>
        <p:xfrm>
          <a:off x="695325" y="2457450"/>
          <a:ext cx="11160125" cy="3382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04004590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0928F21B-F68E-441C-924B-8DED33B04D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9811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4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id="{791976F2-0CDC-4F7E-8353-170F8729D1C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63D2C86-0A8D-418C-85CC-8E9CD671AE8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639602-5DD6-4D56-9C46-DEC39504A6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43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3CF2063-737C-48DA-B4F1-EDAB4DE2B9F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Ringdiagramm und Liniendiagramm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25CEB54-42B5-47BC-9DB6-581E3CBA7B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Platzhalter für die Werteinhei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B41B535-6939-47DC-AFCD-3E35357F178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Platzhalter für eine Quellenangab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6DF6B21-40D9-4FFC-9693-255C7803768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Platzhalter für den Diagrammtitel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51A2B1-FE70-4D0C-8016-6BE6725E7F3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Platzhalter für die Werteinheit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92298AE-71AC-4A31-98F5-6AEA6CB041A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Platzhalter für eine Quellenangab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932AA2E-934C-4209-9382-F3BCAF7051E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Platzhalter für den Diagrammtitel</a:t>
            </a: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43E80465-6DF8-471D-842B-00966874BC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latzhalter für den Folientitel (kann auch zweizeilig sein)</a:t>
            </a:r>
          </a:p>
        </p:txBody>
      </p:sp>
      <p:graphicFrame>
        <p:nvGraphicFramePr>
          <p:cNvPr id="16" name="Diagrammplatzhalter 20">
            <a:extLst>
              <a:ext uri="{FF2B5EF4-FFF2-40B4-BE49-F238E27FC236}">
                <a16:creationId xmlns:a16="http://schemas.microsoft.com/office/drawing/2014/main" id="{7769DA18-1C5A-48AA-A560-8DA0EA3289D4}"/>
              </a:ext>
            </a:extLst>
          </p:cNvPr>
          <p:cNvGraphicFramePr>
            <a:graphicFrameLocks noGrp="1"/>
          </p:cNvGraphicFramePr>
          <p:nvPr>
            <p:ph type="chart" sz="quarter" idx="14"/>
            <p:extLst>
              <p:ext uri="{D42A27DB-BD31-4B8C-83A1-F6EECF244321}">
                <p14:modId xmlns:p14="http://schemas.microsoft.com/office/powerpoint/2010/main" val="2062405852"/>
              </p:ext>
            </p:extLst>
          </p:nvPr>
        </p:nvGraphicFramePr>
        <p:xfrm>
          <a:off x="695325" y="2457450"/>
          <a:ext cx="5292725" cy="3382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7" name="Diagrammplatzhalter 15">
            <a:extLst>
              <a:ext uri="{FF2B5EF4-FFF2-40B4-BE49-F238E27FC236}">
                <a16:creationId xmlns:a16="http://schemas.microsoft.com/office/drawing/2014/main" id="{868D2AE9-9957-4721-98EC-A5DE6A674509}"/>
              </a:ext>
            </a:extLst>
          </p:cNvPr>
          <p:cNvGraphicFramePr>
            <a:graphicFrameLocks noGrp="1"/>
          </p:cNvGraphicFramePr>
          <p:nvPr>
            <p:ph type="chart" sz="quarter" idx="18"/>
            <p:extLst>
              <p:ext uri="{D42A27DB-BD31-4B8C-83A1-F6EECF244321}">
                <p14:modId xmlns:p14="http://schemas.microsoft.com/office/powerpoint/2010/main" val="2519004928"/>
              </p:ext>
            </p:extLst>
          </p:nvPr>
        </p:nvGraphicFramePr>
        <p:xfrm>
          <a:off x="6564313" y="2457450"/>
          <a:ext cx="5291137" cy="3382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18077313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DDD97AC-E0CA-4521-A172-9B40F1CA10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7966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9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DDD97AC-E0CA-4521-A172-9B40F1CA1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C96B4961-DDB9-4CA1-9E97-E704318753D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C2C5BBC-D309-4BA0-8EE8-6C32D22ECE7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23868" y="6449956"/>
            <a:ext cx="6480000" cy="161583"/>
          </a:xfrm>
        </p:spPr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6A33FE2-65F2-4A19-8663-364FAC6CAE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04920" y="6449956"/>
            <a:ext cx="288000" cy="161583"/>
          </a:xfrm>
        </p:spPr>
        <p:txBody>
          <a:bodyPr/>
          <a:lstStyle/>
          <a:p>
            <a:fld id="{1925EFE5-409A-4263-AA86-E37B8055B6A0}" type="slidenum">
              <a:rPr lang="de-DE" smtClean="0"/>
              <a:pPr/>
              <a:t>44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8EF6265-1117-459C-9C1B-54E063B67C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6000" y="1304417"/>
            <a:ext cx="9792000" cy="380104"/>
          </a:xfrm>
        </p:spPr>
        <p:txBody>
          <a:bodyPr/>
          <a:lstStyle/>
          <a:p>
            <a:r>
              <a:rPr lang="de-DE" dirty="0"/>
              <a:t>Balkendiagramm</a:t>
            </a:r>
          </a:p>
        </p:txBody>
      </p:sp>
      <p:graphicFrame>
        <p:nvGraphicFramePr>
          <p:cNvPr id="13" name="Diagrammplatzhalter 16">
            <a:extLst>
              <a:ext uri="{FF2B5EF4-FFF2-40B4-BE49-F238E27FC236}">
                <a16:creationId xmlns:a16="http://schemas.microsoft.com/office/drawing/2014/main" id="{5B9D570C-CE75-4F50-89CF-E59748000F4A}"/>
              </a:ext>
            </a:extLst>
          </p:cNvPr>
          <p:cNvGraphicFramePr>
            <a:graphicFrameLocks noGrp="1"/>
          </p:cNvGraphicFramePr>
          <p:nvPr>
            <p:ph type="chart" sz="quarter" idx="14"/>
            <p:extLst>
              <p:ext uri="{D42A27DB-BD31-4B8C-83A1-F6EECF244321}">
                <p14:modId xmlns:p14="http://schemas.microsoft.com/office/powerpoint/2010/main" val="3958795601"/>
              </p:ext>
            </p:extLst>
          </p:nvPr>
        </p:nvGraphicFramePr>
        <p:xfrm>
          <a:off x="695325" y="2457450"/>
          <a:ext cx="6262688" cy="3382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59D392B-DCCD-4208-9E3B-3002C34E67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5400" y="2168860"/>
            <a:ext cx="6263287" cy="217047"/>
          </a:xfrm>
        </p:spPr>
        <p:txBody>
          <a:bodyPr/>
          <a:lstStyle/>
          <a:p>
            <a:r>
              <a:rPr lang="de-DE" dirty="0"/>
              <a:t>Platzhalter für die Werteinhei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3C127DC-0DBD-4CC5-A918-6548D308011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325" y="5897563"/>
            <a:ext cx="6262688" cy="123825"/>
          </a:xfrm>
        </p:spPr>
        <p:txBody>
          <a:bodyPr/>
          <a:lstStyle/>
          <a:p>
            <a:r>
              <a:rPr lang="de-DE" dirty="0"/>
              <a:t>Platzhalter für eine Quellenangab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ADBC6CE-25CE-49B9-BAD4-7EFF1011985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5400" y="1844824"/>
            <a:ext cx="6263287" cy="279051"/>
          </a:xfrm>
        </p:spPr>
        <p:txBody>
          <a:bodyPr/>
          <a:lstStyle/>
          <a:p>
            <a:r>
              <a:rPr lang="de-DE" dirty="0"/>
              <a:t>Platzhalter für den Diagrammtit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DA8AA39-CF8D-44BB-A522-2896D7C7D7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20488" y="1844824"/>
            <a:ext cx="4536550" cy="4176464"/>
          </a:xfrm>
        </p:spPr>
        <p:txBody>
          <a:bodyPr/>
          <a:lstStyle/>
          <a:p>
            <a:r>
              <a:rPr lang="de-DE" dirty="0"/>
              <a:t>Erste Textebene: Subheadline</a:t>
            </a:r>
          </a:p>
          <a:p>
            <a:pPr lvl="1"/>
            <a:r>
              <a:rPr lang="de-DE" dirty="0"/>
              <a:t>Zweite Textebene: Einleitungstext</a:t>
            </a:r>
          </a:p>
          <a:p>
            <a:pPr lvl="2"/>
            <a:r>
              <a:rPr lang="de-DE" dirty="0"/>
              <a:t>Dritte Textebene: Erste Aufzählungsebene</a:t>
            </a:r>
          </a:p>
          <a:p>
            <a:pPr lvl="3"/>
            <a:r>
              <a:rPr lang="de-DE" dirty="0"/>
              <a:t>Vierte Textebene: Zweite Aufzählungsebene</a:t>
            </a:r>
          </a:p>
          <a:p>
            <a:pPr lvl="4"/>
            <a:r>
              <a:rPr lang="de-DE" dirty="0"/>
              <a:t>Fünfte Textebene: Dritte Aufzählungsebene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B56EAF29-0B8B-4282-95A1-375FFB667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400" y="908373"/>
            <a:ext cx="9792000" cy="380104"/>
          </a:xfrm>
        </p:spPr>
        <p:txBody>
          <a:bodyPr/>
          <a:lstStyle/>
          <a:p>
            <a:r>
              <a:rPr lang="de-DE" dirty="0"/>
              <a:t>Platzhalter für den Folientitel (kann auch zweizeilig sein)</a:t>
            </a:r>
          </a:p>
        </p:txBody>
      </p:sp>
    </p:spTree>
    <p:extLst>
      <p:ext uri="{BB962C8B-B14F-4D97-AF65-F5344CB8AC3E}">
        <p14:creationId xmlns:p14="http://schemas.microsoft.com/office/powerpoint/2010/main" val="4268195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FFF6BDC-D151-4CDE-AA3E-0C79A6A905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8000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4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3D6A03A-A2DC-4993-A5AD-F77D52D574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4058E5B-AE61-4EFE-9C91-BAF80ACB075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68128E8-723F-4E3E-9020-B217195FC9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B456A3A-1A42-4FFE-99E9-D08D2A22B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leitung für die Fußzeil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D26339E-5541-430A-BBAB-083CF121C7CD}"/>
              </a:ext>
            </a:extLst>
          </p:cNvPr>
          <p:cNvSpPr/>
          <p:nvPr/>
        </p:nvSpPr>
        <p:spPr bwMode="gray">
          <a:xfrm>
            <a:off x="695400" y="1844824"/>
            <a:ext cx="5292650" cy="3180358"/>
          </a:xfrm>
          <a:prstGeom prst="rect">
            <a:avLst/>
          </a:prstGeom>
          <a:solidFill>
            <a:schemeClr val="bg1"/>
          </a:solidFill>
          <a:ln w="6350">
            <a:solidFill>
              <a:srgbClr val="9A9A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t" anchorCtr="0">
            <a:spAutoFit/>
          </a:bodyPr>
          <a:lstStyle/>
          <a:p>
            <a:pPr marL="0" lvl="1" fontAlgn="base">
              <a:spcBef>
                <a:spcPts val="800"/>
              </a:spcBef>
              <a:buClr>
                <a:schemeClr val="accent2"/>
              </a:buClr>
              <a:buSzPct val="120000"/>
            </a:pPr>
            <a:r>
              <a:rPr lang="de-DE" b="1" dirty="0">
                <a:solidFill>
                  <a:schemeClr val="tx1"/>
                </a:solidFill>
              </a:rPr>
              <a:t>Anpassung der Fußzeile</a:t>
            </a:r>
          </a:p>
          <a:p>
            <a:pPr marL="0" lvl="1" fontAlgn="base">
              <a:spcBef>
                <a:spcPts val="400"/>
              </a:spcBef>
              <a:buClr>
                <a:schemeClr val="accent2"/>
              </a:buClr>
              <a:buSzPct val="120000"/>
            </a:pPr>
            <a:r>
              <a:rPr lang="de-DE" sz="1600" dirty="0">
                <a:solidFill>
                  <a:schemeClr val="tx1"/>
                </a:solidFill>
              </a:rPr>
              <a:t>Gehen Sie auf den Reiter „Einfügen“ und wählen Sie die „Kopf- und Fußzeile“ aus. Dieses Menü erlaubt Ihnen jegliche Anpassungen vorzunehmen. Bitte fügen Sie alle nötigen Änderungen hier ein.</a:t>
            </a:r>
          </a:p>
          <a:p>
            <a:pPr marL="0" lvl="1" fontAlgn="base">
              <a:spcBef>
                <a:spcPts val="400"/>
              </a:spcBef>
              <a:buClr>
                <a:schemeClr val="accent2"/>
              </a:buClr>
              <a:buSzPct val="120000"/>
            </a:pPr>
            <a:r>
              <a:rPr lang="de-DE" sz="1600" dirty="0">
                <a:solidFill>
                  <a:schemeClr val="tx1"/>
                </a:solidFill>
              </a:rPr>
              <a:t>Wenn es Unregelmäßigkeiten mit der Darstellung </a:t>
            </a:r>
            <a:br>
              <a:rPr lang="de-DE" sz="1600" dirty="0">
                <a:solidFill>
                  <a:schemeClr val="tx1"/>
                </a:solidFill>
              </a:rPr>
            </a:br>
            <a:r>
              <a:rPr lang="de-DE" sz="1600" dirty="0">
                <a:solidFill>
                  <a:schemeClr val="tx1"/>
                </a:solidFill>
              </a:rPr>
              <a:t>der Fußzeile geben sollte, deaktivieren Sie bitte die Kästchen für „Datum und Uhrzeit“ „Foliennummer“ und „Fußzeile“ </a:t>
            </a:r>
            <a:br>
              <a:rPr lang="de-DE" sz="1600" dirty="0">
                <a:solidFill>
                  <a:schemeClr val="tx1"/>
                </a:solidFill>
              </a:rPr>
            </a:br>
            <a:r>
              <a:rPr lang="de-DE" sz="1600" dirty="0">
                <a:solidFill>
                  <a:schemeClr val="tx1"/>
                </a:solidFill>
              </a:rPr>
              <a:t>und bestätigen Sie mit „Für alle übernehmen“. </a:t>
            </a:r>
            <a:br>
              <a:rPr lang="de-DE" sz="1600" dirty="0">
                <a:solidFill>
                  <a:schemeClr val="tx1"/>
                </a:solidFill>
              </a:rPr>
            </a:br>
            <a:r>
              <a:rPr lang="de-DE" sz="1600" dirty="0">
                <a:solidFill>
                  <a:schemeClr val="tx1"/>
                </a:solidFill>
              </a:rPr>
              <a:t>Im Anschluss wieder in dieses Menü gehen und diese Felder wieder aktivieren und bestätigen. Dann sollten alle </a:t>
            </a:r>
            <a:r>
              <a:rPr lang="de-DE" sz="1600" dirty="0" err="1">
                <a:solidFill>
                  <a:schemeClr val="tx1"/>
                </a:solidFill>
              </a:rPr>
              <a:t>Unregel-mäßigkeiten</a:t>
            </a:r>
            <a:r>
              <a:rPr lang="de-DE" sz="1600" dirty="0">
                <a:solidFill>
                  <a:schemeClr val="tx1"/>
                </a:solidFill>
              </a:rPr>
              <a:t> bereinigt sein.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89C60C9B-2D27-4042-B024-C6415260337A}"/>
              </a:ext>
            </a:extLst>
          </p:cNvPr>
          <p:cNvGrpSpPr/>
          <p:nvPr/>
        </p:nvGrpSpPr>
        <p:grpSpPr bwMode="gray">
          <a:xfrm>
            <a:off x="6564052" y="1844825"/>
            <a:ext cx="4980709" cy="3180357"/>
            <a:chOff x="6384600" y="1844825"/>
            <a:chExt cx="4980710" cy="3180358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C2B28B50-AF0C-4FBA-A02A-E65EB2EC3F4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 bwMode="gray">
            <a:xfrm>
              <a:off x="6384600" y="1844825"/>
              <a:ext cx="4980710" cy="3180358"/>
            </a:xfrm>
            <a:prstGeom prst="rect">
              <a:avLst/>
            </a:prstGeom>
          </p:spPr>
        </p:pic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E0756213-FEAA-417B-BD9A-4261B3437EA9}"/>
                </a:ext>
              </a:extLst>
            </p:cNvPr>
            <p:cNvGrpSpPr/>
            <p:nvPr/>
          </p:nvGrpSpPr>
          <p:grpSpPr bwMode="gray">
            <a:xfrm>
              <a:off x="6616092" y="3724227"/>
              <a:ext cx="3628557" cy="503252"/>
              <a:chOff x="6486471" y="3662540"/>
              <a:chExt cx="3856092" cy="534809"/>
            </a:xfrm>
          </p:grpSpPr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ED63462C-8C75-42BF-9004-5F1834A813A8}"/>
                  </a:ext>
                </a:extLst>
              </p:cNvPr>
              <p:cNvSpPr/>
              <p:nvPr/>
            </p:nvSpPr>
            <p:spPr bwMode="gray">
              <a:xfrm>
                <a:off x="6486471" y="3662540"/>
                <a:ext cx="857304" cy="143766"/>
              </a:xfrm>
              <a:prstGeom prst="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Font typeface="Wingdings" panose="05000000000000000000" pitchFamily="2" charset="2"/>
                  <a:buChar char="§"/>
                </a:pPr>
                <a:endParaRPr lang="de-DE" sz="1600" dirty="0" err="1"/>
              </a:p>
            </p:txBody>
          </p:sp>
          <p:sp>
            <p:nvSpPr>
              <p:cNvPr id="12" name="Rechteck 11">
                <a:extLst>
                  <a:ext uri="{FF2B5EF4-FFF2-40B4-BE49-F238E27FC236}">
                    <a16:creationId xmlns:a16="http://schemas.microsoft.com/office/drawing/2014/main" id="{D3E2F47F-5F1E-4AD1-9B8A-F4912C4B1D75}"/>
                  </a:ext>
                </a:extLst>
              </p:cNvPr>
              <p:cNvSpPr/>
              <p:nvPr/>
            </p:nvSpPr>
            <p:spPr bwMode="gray">
              <a:xfrm>
                <a:off x="6486471" y="3837248"/>
                <a:ext cx="3856092" cy="360101"/>
              </a:xfrm>
              <a:prstGeom prst="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Font typeface="Wingdings" panose="05000000000000000000" pitchFamily="2" charset="2"/>
                  <a:buChar char="§"/>
                </a:pPr>
                <a:endParaRPr lang="de-DE" sz="1600" dirty="0" err="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27447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C8D6416-DDC3-419A-9DB4-EB013FE8753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97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7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3A211F6B-CDF4-4816-9CEF-CC6C285CEB2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6A77B57-00EE-483B-8365-AD6212A31A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D2DFA9D-3A06-4F77-B7B4-13150E464E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351B33-F8E9-4864-8C81-85E3A559C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de-DE" sz="1400" dirty="0"/>
              <a:t>Bilder, die über Bildplatzhalter des Layouts eingefügt werden, füllen das Format voll aus und werden abgeschnitten, wenn das Seiten-verhältnis ein anderes ist. Damit das Bild in vollem Umfang zu </a:t>
            </a:r>
            <a:br>
              <a:rPr lang="de-DE" sz="1400" dirty="0"/>
            </a:br>
            <a:r>
              <a:rPr lang="de-DE" sz="1400" dirty="0"/>
              <a:t>sehen ist, gehen Sie bitte wie folgt vor:</a:t>
            </a:r>
          </a:p>
          <a:p>
            <a:pPr marL="323850" lvl="1"/>
            <a:r>
              <a:rPr lang="de-DE" sz="1400" dirty="0"/>
              <a:t>Klicken Sie auf das Bild, um es zu markieren (ggf. Doppel-Klick)</a:t>
            </a:r>
          </a:p>
          <a:p>
            <a:pPr marL="323850" lvl="1"/>
            <a:r>
              <a:rPr lang="de-DE" sz="1400" dirty="0"/>
              <a:t>Gehen Sie oben im Menü auf „Bildtools/Format“, und klicken Sie auf den Pfeil beim </a:t>
            </a:r>
            <a:br>
              <a:rPr lang="de-DE" sz="1400" dirty="0"/>
            </a:br>
            <a:r>
              <a:rPr lang="de-DE" sz="1400" dirty="0"/>
              <a:t>Symbol „Zuschneiden“</a:t>
            </a:r>
          </a:p>
          <a:p>
            <a:pPr marL="323850" lvl="1"/>
            <a:r>
              <a:rPr lang="de-DE" sz="1400" dirty="0"/>
              <a:t>Wählen Sie „Einpassen“ aus</a:t>
            </a:r>
            <a:br>
              <a:rPr lang="de-DE" sz="1400" dirty="0"/>
            </a:br>
            <a:endParaRPr lang="de-DE" sz="1400" dirty="0"/>
          </a:p>
          <a:p>
            <a:pPr marL="323850" lvl="1"/>
            <a:endParaRPr lang="de-DE" sz="1400" dirty="0"/>
          </a:p>
          <a:p>
            <a:pPr marL="323850" lvl="1"/>
            <a:br>
              <a:rPr lang="de-DE" sz="1400" dirty="0"/>
            </a:br>
            <a:br>
              <a:rPr lang="de-DE" sz="1400" dirty="0"/>
            </a:br>
            <a:endParaRPr lang="de-DE" sz="1400" dirty="0"/>
          </a:p>
          <a:p>
            <a:pPr marL="323850" lvl="1"/>
            <a:r>
              <a:rPr lang="de-DE" sz="1400" dirty="0"/>
              <a:t>Bewegen Sie das Bild, in dem Sie die Maustaste gedrückt halten, bis das Bild platziert ist. </a:t>
            </a:r>
            <a:br>
              <a:rPr lang="de-DE" sz="1400" dirty="0"/>
            </a:br>
            <a:r>
              <a:rPr lang="de-DE" sz="1400" dirty="0"/>
              <a:t>Sollte das Bild kleiner als der Bildplatzhalter sein, müssen Sie noch den Fülleffekt auf </a:t>
            </a:r>
            <a:br>
              <a:rPr lang="de-DE" sz="1400" dirty="0"/>
            </a:br>
            <a:r>
              <a:rPr lang="de-DE" sz="1400" dirty="0"/>
              <a:t>„Keine Füllung“ stellen.</a:t>
            </a:r>
          </a:p>
          <a:p>
            <a:pPr marL="323850" lvl="1"/>
            <a:r>
              <a:rPr lang="de-DE" sz="1400" dirty="0"/>
              <a:t>Klicken Sie nun außerhalb des Bildbereichs, um sich die Bildauswahl anzuschauen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A10B9209-6782-4F34-902E-C41B716707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6B2B0EFF-7075-4095-B05D-477CD80094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latzhalter Bild einfügen</a:t>
            </a:r>
          </a:p>
        </p:txBody>
      </p:sp>
      <p:sp>
        <p:nvSpPr>
          <p:cNvPr id="9" name="Oval 97">
            <a:extLst>
              <a:ext uri="{FF2B5EF4-FFF2-40B4-BE49-F238E27FC236}">
                <a16:creationId xmlns:a16="http://schemas.microsoft.com/office/drawing/2014/main" id="{6F990A92-CE85-4881-A8C8-20B6AA87F3F4}"/>
              </a:ext>
            </a:extLst>
          </p:cNvPr>
          <p:cNvSpPr>
            <a:spLocks noChangeArrowheads="1"/>
          </p:cNvSpPr>
          <p:nvPr/>
        </p:nvSpPr>
        <p:spPr bwMode="gray">
          <a:xfrm>
            <a:off x="695400" y="2574481"/>
            <a:ext cx="252000" cy="252000"/>
          </a:xfrm>
          <a:prstGeom prst="rect">
            <a:avLst/>
          </a:prstGeom>
          <a:solidFill>
            <a:schemeClr val="accent1"/>
          </a:solidFill>
          <a:ln w="38100">
            <a:noFill/>
            <a:miter lim="800000"/>
            <a:headEnd/>
            <a:tailEnd/>
          </a:ln>
        </p:spPr>
        <p:txBody>
          <a:bodyPr lIns="0" tIns="0" rIns="0" bIns="0" rtlCol="0" anchor="ctr" anchorCtr="0">
            <a:noAutofit/>
          </a:bodyPr>
          <a:lstStyle/>
          <a:p>
            <a:pPr algn="ctr" defTabSz="963613" eaLnBrk="0" hangingPunct="0">
              <a:tabLst>
                <a:tab pos="1257300" algn="l"/>
              </a:tabLst>
            </a:pPr>
            <a:r>
              <a:rPr lang="de-DE" sz="1200" kern="0" cap="all" dirty="0">
                <a:solidFill>
                  <a:srgbClr val="FFFFFF"/>
                </a:solidFill>
                <a:latin typeface="+mj-lt"/>
                <a:sym typeface="Wingdings" pitchFamily="2" charset="2"/>
              </a:rPr>
              <a:t>1</a:t>
            </a:r>
          </a:p>
        </p:txBody>
      </p:sp>
      <p:sp>
        <p:nvSpPr>
          <p:cNvPr id="10" name="Oval 97">
            <a:extLst>
              <a:ext uri="{FF2B5EF4-FFF2-40B4-BE49-F238E27FC236}">
                <a16:creationId xmlns:a16="http://schemas.microsoft.com/office/drawing/2014/main" id="{F930DECF-C196-42CD-ADB0-DFF9DC7F65D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95400" y="2878454"/>
            <a:ext cx="252000" cy="252000"/>
          </a:xfrm>
          <a:prstGeom prst="rect">
            <a:avLst/>
          </a:prstGeom>
          <a:solidFill>
            <a:schemeClr val="accent1"/>
          </a:solidFill>
          <a:ln w="38100">
            <a:noFill/>
            <a:miter lim="800000"/>
            <a:headEnd/>
            <a:tailEnd/>
          </a:ln>
        </p:spPr>
        <p:txBody>
          <a:bodyPr lIns="0" tIns="0" rIns="0" bIns="0" rtlCol="0" anchor="ctr" anchorCtr="0">
            <a:noAutofit/>
          </a:bodyPr>
          <a:lstStyle/>
          <a:p>
            <a:pPr algn="ctr" defTabSz="963613" eaLnBrk="0" hangingPunct="0">
              <a:tabLst>
                <a:tab pos="1257300" algn="l"/>
              </a:tabLst>
            </a:pPr>
            <a:r>
              <a:rPr lang="de-DE" sz="1200" kern="0" cap="all" dirty="0">
                <a:solidFill>
                  <a:srgbClr val="FFFFFF"/>
                </a:solidFill>
                <a:latin typeface="+mj-lt"/>
                <a:sym typeface="Wingdings" pitchFamily="2" charset="2"/>
              </a:rPr>
              <a:t>2</a:t>
            </a:r>
          </a:p>
        </p:txBody>
      </p:sp>
      <p:sp>
        <p:nvSpPr>
          <p:cNvPr id="11" name="Oval 97">
            <a:extLst>
              <a:ext uri="{FF2B5EF4-FFF2-40B4-BE49-F238E27FC236}">
                <a16:creationId xmlns:a16="http://schemas.microsoft.com/office/drawing/2014/main" id="{DDAE623F-F008-4E2A-9F47-AFA96083EB5B}"/>
              </a:ext>
            </a:extLst>
          </p:cNvPr>
          <p:cNvSpPr>
            <a:spLocks noChangeArrowheads="1"/>
          </p:cNvSpPr>
          <p:nvPr/>
        </p:nvSpPr>
        <p:spPr bwMode="gray">
          <a:xfrm>
            <a:off x="695400" y="3397154"/>
            <a:ext cx="252000" cy="252000"/>
          </a:xfrm>
          <a:prstGeom prst="rect">
            <a:avLst/>
          </a:prstGeom>
          <a:solidFill>
            <a:schemeClr val="accent1"/>
          </a:solidFill>
          <a:ln w="38100">
            <a:noFill/>
            <a:miter lim="800000"/>
            <a:headEnd/>
            <a:tailEnd/>
          </a:ln>
        </p:spPr>
        <p:txBody>
          <a:bodyPr lIns="0" tIns="0" rIns="0" bIns="0" rtlCol="0" anchor="ctr" anchorCtr="0">
            <a:noAutofit/>
          </a:bodyPr>
          <a:lstStyle/>
          <a:p>
            <a:pPr algn="ctr" defTabSz="963613" eaLnBrk="0" hangingPunct="0">
              <a:tabLst>
                <a:tab pos="1257300" algn="l"/>
              </a:tabLst>
            </a:pPr>
            <a:r>
              <a:rPr lang="de-DE" sz="1200" kern="0" cap="all" dirty="0">
                <a:solidFill>
                  <a:srgbClr val="FFFFFF"/>
                </a:solidFill>
                <a:latin typeface="+mj-lt"/>
                <a:sym typeface="Wingdings" pitchFamily="2" charset="2"/>
              </a:rPr>
              <a:t>3</a:t>
            </a:r>
          </a:p>
        </p:txBody>
      </p:sp>
      <p:sp>
        <p:nvSpPr>
          <p:cNvPr id="12" name="Oval 97">
            <a:extLst>
              <a:ext uri="{FF2B5EF4-FFF2-40B4-BE49-F238E27FC236}">
                <a16:creationId xmlns:a16="http://schemas.microsoft.com/office/drawing/2014/main" id="{91A320BF-2CD9-4BFA-BA52-84D765DECB5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95400" y="4975284"/>
            <a:ext cx="252000" cy="252000"/>
          </a:xfrm>
          <a:prstGeom prst="rect">
            <a:avLst/>
          </a:prstGeom>
          <a:solidFill>
            <a:schemeClr val="accent1"/>
          </a:solidFill>
          <a:ln w="38100">
            <a:noFill/>
            <a:miter lim="800000"/>
            <a:headEnd/>
            <a:tailEnd/>
          </a:ln>
        </p:spPr>
        <p:txBody>
          <a:bodyPr lIns="0" tIns="0" rIns="0" bIns="0" rtlCol="0" anchor="ctr" anchorCtr="0">
            <a:noAutofit/>
          </a:bodyPr>
          <a:lstStyle/>
          <a:p>
            <a:pPr algn="ctr" defTabSz="963613" eaLnBrk="0" hangingPunct="0">
              <a:tabLst>
                <a:tab pos="1257300" algn="l"/>
              </a:tabLst>
            </a:pPr>
            <a:r>
              <a:rPr lang="de-DE" sz="1200" kern="0" cap="all" dirty="0">
                <a:solidFill>
                  <a:srgbClr val="FFFFFF"/>
                </a:solidFill>
                <a:latin typeface="+mj-lt"/>
                <a:sym typeface="Wingdings" pitchFamily="2" charset="2"/>
              </a:rPr>
              <a:t>4</a:t>
            </a:r>
          </a:p>
        </p:txBody>
      </p:sp>
      <p:sp>
        <p:nvSpPr>
          <p:cNvPr id="13" name="Oval 97">
            <a:extLst>
              <a:ext uri="{FF2B5EF4-FFF2-40B4-BE49-F238E27FC236}">
                <a16:creationId xmlns:a16="http://schemas.microsoft.com/office/drawing/2014/main" id="{AA09F86C-0080-4738-9DBA-D9D3B007C7A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95400" y="5733284"/>
            <a:ext cx="252000" cy="252000"/>
          </a:xfrm>
          <a:prstGeom prst="rect">
            <a:avLst/>
          </a:prstGeom>
          <a:solidFill>
            <a:schemeClr val="accent1"/>
          </a:solidFill>
          <a:ln w="38100">
            <a:noFill/>
            <a:miter lim="800000"/>
            <a:headEnd/>
            <a:tailEnd/>
          </a:ln>
        </p:spPr>
        <p:txBody>
          <a:bodyPr lIns="0" tIns="0" rIns="0" bIns="0" rtlCol="0" anchor="ctr" anchorCtr="0">
            <a:noAutofit/>
          </a:bodyPr>
          <a:lstStyle/>
          <a:p>
            <a:pPr algn="ctr" defTabSz="963613" eaLnBrk="0" hangingPunct="0">
              <a:tabLst>
                <a:tab pos="1257300" algn="l"/>
              </a:tabLst>
            </a:pPr>
            <a:r>
              <a:rPr lang="de-DE" sz="1200" kern="0" cap="all" dirty="0">
                <a:solidFill>
                  <a:srgbClr val="FFFFFF"/>
                </a:solidFill>
                <a:latin typeface="+mj-lt"/>
                <a:sym typeface="Wingdings" pitchFamily="2" charset="2"/>
              </a:rPr>
              <a:t>5</a:t>
            </a:r>
          </a:p>
        </p:txBody>
      </p:sp>
      <p:sp>
        <p:nvSpPr>
          <p:cNvPr id="14" name="Oval 97">
            <a:extLst>
              <a:ext uri="{FF2B5EF4-FFF2-40B4-BE49-F238E27FC236}">
                <a16:creationId xmlns:a16="http://schemas.microsoft.com/office/drawing/2014/main" id="{55AB9D10-0D9B-4305-993F-6B5CF329EB4A}"/>
              </a:ext>
            </a:extLst>
          </p:cNvPr>
          <p:cNvSpPr>
            <a:spLocks noChangeArrowheads="1"/>
          </p:cNvSpPr>
          <p:nvPr/>
        </p:nvSpPr>
        <p:spPr bwMode="gray">
          <a:xfrm>
            <a:off x="695400" y="3397154"/>
            <a:ext cx="252000" cy="252000"/>
          </a:xfrm>
          <a:prstGeom prst="rect">
            <a:avLst/>
          </a:prstGeom>
          <a:solidFill>
            <a:schemeClr val="accent1"/>
          </a:solidFill>
          <a:ln w="38100">
            <a:noFill/>
            <a:miter lim="800000"/>
            <a:headEnd/>
            <a:tailEnd/>
          </a:ln>
        </p:spPr>
        <p:txBody>
          <a:bodyPr lIns="0" tIns="0" rIns="0" bIns="0" rtlCol="0" anchor="ctr" anchorCtr="0">
            <a:noAutofit/>
          </a:bodyPr>
          <a:lstStyle/>
          <a:p>
            <a:pPr algn="ctr" defTabSz="963613" eaLnBrk="0" hangingPunct="0">
              <a:tabLst>
                <a:tab pos="1257300" algn="l"/>
              </a:tabLst>
            </a:pPr>
            <a:r>
              <a:rPr lang="de-DE" sz="1200" kern="0" cap="all" dirty="0">
                <a:solidFill>
                  <a:srgbClr val="FFFFFF"/>
                </a:solidFill>
                <a:latin typeface="+mj-lt"/>
                <a:sym typeface="Wingdings" pitchFamily="2" charset="2"/>
              </a:rPr>
              <a:t>3</a:t>
            </a:r>
          </a:p>
        </p:txBody>
      </p:sp>
      <p:sp>
        <p:nvSpPr>
          <p:cNvPr id="15" name="Oval 97">
            <a:extLst>
              <a:ext uri="{FF2B5EF4-FFF2-40B4-BE49-F238E27FC236}">
                <a16:creationId xmlns:a16="http://schemas.microsoft.com/office/drawing/2014/main" id="{6C86F477-FD4E-4AA7-9A24-A8E38E04184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95400" y="4975284"/>
            <a:ext cx="252000" cy="252000"/>
          </a:xfrm>
          <a:prstGeom prst="rect">
            <a:avLst/>
          </a:prstGeom>
          <a:solidFill>
            <a:schemeClr val="accent1"/>
          </a:solidFill>
          <a:ln w="38100">
            <a:noFill/>
            <a:miter lim="800000"/>
            <a:headEnd/>
            <a:tailEnd/>
          </a:ln>
        </p:spPr>
        <p:txBody>
          <a:bodyPr lIns="0" tIns="0" rIns="0" bIns="0" rtlCol="0" anchor="ctr" anchorCtr="0">
            <a:noAutofit/>
          </a:bodyPr>
          <a:lstStyle/>
          <a:p>
            <a:pPr algn="ctr" defTabSz="963613" eaLnBrk="0" hangingPunct="0">
              <a:tabLst>
                <a:tab pos="1257300" algn="l"/>
              </a:tabLst>
            </a:pPr>
            <a:r>
              <a:rPr lang="de-DE" sz="1200" kern="0" cap="all" dirty="0">
                <a:solidFill>
                  <a:srgbClr val="FFFFFF"/>
                </a:solidFill>
                <a:latin typeface="+mj-lt"/>
                <a:sym typeface="Wingdings" pitchFamily="2" charset="2"/>
              </a:rPr>
              <a:t>4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05F21AFA-0D52-465D-A1B4-0FD10E2C7952}"/>
              </a:ext>
            </a:extLst>
          </p:cNvPr>
          <p:cNvGrpSpPr/>
          <p:nvPr/>
        </p:nvGrpSpPr>
        <p:grpSpPr bwMode="gray">
          <a:xfrm>
            <a:off x="978358" y="3712915"/>
            <a:ext cx="4830305" cy="1126208"/>
            <a:chOff x="626342" y="3609020"/>
            <a:chExt cx="3766271" cy="878123"/>
          </a:xfrm>
        </p:grpSpPr>
        <p:pic>
          <p:nvPicPr>
            <p:cNvPr id="17" name="Picture 2">
              <a:extLst>
                <a:ext uri="{FF2B5EF4-FFF2-40B4-BE49-F238E27FC236}">
                  <a16:creationId xmlns:a16="http://schemas.microsoft.com/office/drawing/2014/main" id="{A79E02BB-BE16-4109-9E7A-968A9B38D5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26342" y="3609020"/>
              <a:ext cx="3766271" cy="878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AB52DD5B-60D8-4F9E-B4AE-3FB0938E500F}"/>
                </a:ext>
              </a:extLst>
            </p:cNvPr>
            <p:cNvSpPr/>
            <p:nvPr/>
          </p:nvSpPr>
          <p:spPr bwMode="gray">
            <a:xfrm>
              <a:off x="3602831" y="3613780"/>
              <a:ext cx="288136" cy="329569"/>
            </a:xfrm>
            <a:prstGeom prst="rect">
              <a:avLst/>
            </a:prstGeom>
            <a:noFill/>
            <a:ln>
              <a:solidFill>
                <a:srgbClr val="D34F5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285750" indent="-285750" algn="ctr">
                <a:spcBef>
                  <a:spcPts val="800"/>
                </a:spcBef>
                <a:buClr>
                  <a:schemeClr val="accent1"/>
                </a:buClr>
                <a:buSzPct val="120000"/>
                <a:buFont typeface="Arial" pitchFamily="34" charset="0"/>
                <a:buChar char="&gt;"/>
              </a:pPr>
              <a:endParaRPr lang="de-DE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90447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105C7E6-BDA5-4CB4-BE14-525C4400D0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892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2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105C7E6-BDA5-4CB4-BE14-525C4400D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B67A8DF5-37FF-4BE5-8F86-A453E31E37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3C59630-D3E4-4892-93B7-96DADC0B4D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latzhalter für den Präsentationstitel, </a:t>
            </a:r>
            <a:br>
              <a:rPr lang="de-DE" dirty="0"/>
            </a:br>
            <a:r>
              <a:rPr lang="de-DE" dirty="0"/>
              <a:t>maximal vierzeili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58E7E33-D2D6-4844-8C92-21ACEFA940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Kolpingsfamilie Beispielhaus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98847A8-4B6C-482F-A35B-B14F4376D5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TT. Monat 20XX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1CD7248-EC9A-409E-A53C-E7FD7090DF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Name, Funktion</a:t>
            </a:r>
          </a:p>
        </p:txBody>
      </p:sp>
    </p:spTree>
    <p:extLst>
      <p:ext uri="{BB962C8B-B14F-4D97-AF65-F5344CB8AC3E}">
        <p14:creationId xmlns:p14="http://schemas.microsoft.com/office/powerpoint/2010/main" val="12635626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105C7E6-BDA5-4CB4-BE14-525C4400D0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7811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1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B67A8DF5-37FF-4BE5-8F86-A453E31E37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3C59630-D3E4-4892-93B7-96DADC0B4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000" y="1082475"/>
            <a:ext cx="7416000" cy="1052596"/>
          </a:xfrm>
        </p:spPr>
        <p:txBody>
          <a:bodyPr/>
          <a:lstStyle/>
          <a:p>
            <a:r>
              <a:rPr lang="de-DE" dirty="0"/>
              <a:t>Platzhalter für den Präsentationstitel, </a:t>
            </a:r>
            <a:br>
              <a:rPr lang="de-DE" dirty="0"/>
            </a:br>
            <a:r>
              <a:rPr lang="de-DE" dirty="0"/>
              <a:t>maximal vierzeili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58E7E33-D2D6-4844-8C92-21ACEFA940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Kolpingsfamilie Beispielhaus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98847A8-4B6C-482F-A35B-B14F4376D5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TT. Monat 20XX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1CD7248-EC9A-409E-A53C-E7FD7090DF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Name, Funktion</a:t>
            </a:r>
          </a:p>
        </p:txBody>
      </p:sp>
    </p:spTree>
    <p:extLst>
      <p:ext uri="{BB962C8B-B14F-4D97-AF65-F5344CB8AC3E}">
        <p14:creationId xmlns:p14="http://schemas.microsoft.com/office/powerpoint/2010/main" val="29497044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105C7E6-BDA5-4CB4-BE14-525C4400D0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4603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3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105C7E6-BDA5-4CB4-BE14-525C4400D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B67A8DF5-37FF-4BE5-8F86-A453E31E37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3C59630-D3E4-4892-93B7-96DADC0B4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000" y="1082475"/>
            <a:ext cx="7416000" cy="1052596"/>
          </a:xfrm>
        </p:spPr>
        <p:txBody>
          <a:bodyPr/>
          <a:lstStyle/>
          <a:p>
            <a:r>
              <a:rPr lang="de-DE" dirty="0"/>
              <a:t>Platzhalter für den Präsentationstitel, </a:t>
            </a:r>
            <a:br>
              <a:rPr lang="de-DE" dirty="0"/>
            </a:br>
            <a:r>
              <a:rPr lang="de-DE" dirty="0"/>
              <a:t>maximal vierzeili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58E7E33-D2D6-4844-8C92-21ACEFA940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Kolpingsfamilie Beispielhaus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98847A8-4B6C-482F-A35B-B14F4376D5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TT. Monat 20XX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1CD7248-EC9A-409E-A53C-E7FD7090DF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Name, Funktion</a:t>
            </a:r>
          </a:p>
        </p:txBody>
      </p:sp>
      <p:pic>
        <p:nvPicPr>
          <p:cNvPr id="10" name="Bildplatzhalter 9" descr="Ein Bild, das Uhr, Computer, Verkehr enthält.&#10;&#10;Automatisch generierte Beschreibung">
            <a:extLst>
              <a:ext uri="{FF2B5EF4-FFF2-40B4-BE49-F238E27FC236}">
                <a16:creationId xmlns:a16="http://schemas.microsoft.com/office/drawing/2014/main" id="{CCBEB95B-2E28-4677-B5CD-E70F4DB0E7B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7"/>
          <a:srcRect t="228" b="22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4388922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Xq_AufOddcDojmYHIwp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2c_TRpH06AZwMuKlcyO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MbJn_kOF3p9QQ3_39S7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75eMKfUqoFYWV5ylyDB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uthcyGr.dP7NmqgygFp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9YzcmTq52TSsxP4V1zt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VFeDn5LfNs3dPG0XCg8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lUM75QutWQvY_rDiba7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oSs4TiMLkEKzadWRUOO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Gg9UH0UJ.FOtVLPRtEA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KsTIBZi.Z61UPPkpij2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lm6IKvYYDGo80Yfk280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xJOasfoQ7DsAtILpeiQ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ROxfkUhHy3bPwSJVU_G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ZPHD40tu6R6EqEKXHy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q61BlGtdqOmIvVj5hA5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.flR28Z_O0etnboLnR3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2g43ljA.rVhC0xe3InR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iAYAVExHuWdru79jT5I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H4YbhD7e22OrkmpdUzs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49Xsk7T_FaxQ085tvAD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hwEKSOUwiQ1ibDFtdwy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VL8Sv7J88j29Gdx9goM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BoWEJqnos6h2m2lyt1k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waRuh.bJYih.ehye.Oj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6b0_R2LTAiPtRKYQNkO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LQmbVQwXmN.R_HbK67.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sonwSwtR1NJZZUEGIBK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L4C1v1LF4WdEHMV1Tmb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.flR28Z_O0etnboLnR3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2g43ljA.rVhC0xe3InR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bEN1zzeFJd2IfIEhjea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7mrDwR5l3BZMc_ZX1Qm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7mrDwR5l3BZMc_ZX1Q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7mrDwR5l3BZMc_ZX1Qm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7mrDwR5l3BZMc_ZX1Q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7mrDwR5l3BZMc_ZX1Q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7mrDwR5l3BZMc_ZX1Qm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7mrDwR5l3BZMc_ZX1Q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o4kk.b0DaC7ARymj0fU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7mrDwR5l3BZMc_ZX1Qm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7mrDwR5l3BZMc_ZX1Qm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tKnQGzOIQq487474FXj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SCG6h.MRnvvM3Eyr4h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XVQRvp40NYD9GZSPjV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75eMKfUqoFYWV5ylyDB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Xzm37cryjshZpMGfSId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QbYox09zP8P4b_B7dSj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XVQRvp40NYD9GZSPjV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75eMKfUqoFYWV5ylyDB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tKnQGzOIQq487474FXj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SCG6h.MRnvvM3Eyr4h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QbYox09zP8P4b_B7dSj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XVQRvp40NYD9GZSPjV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XVQRvp40NYD9GZSPjVH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to_zPiK8qsoVbP9pADh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to_zPiK8qsoVbP9pADh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to_zPiK8qsoVbP9pADh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75eMKfUqoFYWV5ylyDB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WrX6Qr8hJQe0VUjwlUl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TX3cRg2FubH2unBAt7D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obKzr5XAzl1Uwqtn.8h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obKzr5XAzl1Uwqtn.8h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obKzr5XAzl1Uwqtn.8h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olping PPT Master 16:9 (Quadrat)">
  <a:themeElements>
    <a:clrScheme name="Kolping 2020">
      <a:dk1>
        <a:sysClr val="windowText" lastClr="000000"/>
      </a:dk1>
      <a:lt1>
        <a:sysClr val="window" lastClr="FFFFFF"/>
      </a:lt1>
      <a:dk2>
        <a:srgbClr val="FF8C00"/>
      </a:dk2>
      <a:lt2>
        <a:srgbClr val="FFDCA5"/>
      </a:lt2>
      <a:accent1>
        <a:srgbClr val="FF8C00"/>
      </a:accent1>
      <a:accent2>
        <a:srgbClr val="74056F"/>
      </a:accent2>
      <a:accent3>
        <a:srgbClr val="1D728A"/>
      </a:accent3>
      <a:accent4>
        <a:srgbClr val="9B0687"/>
      </a:accent4>
      <a:accent5>
        <a:srgbClr val="41A0A0"/>
      </a:accent5>
      <a:accent6>
        <a:srgbClr val="285DA6"/>
      </a:accent6>
      <a:hlink>
        <a:srgbClr val="285DA6"/>
      </a:hlink>
      <a:folHlink>
        <a:srgbClr val="74056F"/>
      </a:folHlink>
    </a:clrScheme>
    <a:fontScheme name="Kolping 2020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t"/>
      <a:lstStyle>
        <a:defPPr marL="180000" indent="-180000" algn="l">
          <a:lnSpc>
            <a:spcPct val="113000"/>
          </a:lnSpc>
          <a:buFont typeface="Wingdings" panose="05000000000000000000" pitchFamily="2" charset="2"/>
          <a:buChar char="§"/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lnSpc>
            <a:spcPct val="113000"/>
          </a:lnSpc>
          <a:buFont typeface="Wingdings" panose="05000000000000000000" pitchFamily="2" charset="2"/>
          <a:buChar char="§"/>
          <a:defRPr dirty="0" err="1" smtClean="0"/>
        </a:defPPr>
      </a:lstStyle>
    </a:txDef>
  </a:objectDefaults>
  <a:extraClrSchemeLst/>
  <a:custClrLst>
    <a:custClr>
      <a:srgbClr val="449CDB"/>
    </a:custClr>
    <a:custClr>
      <a:srgbClr val="B2CE36"/>
    </a:custClr>
    <a:custClr>
      <a:srgbClr val="AA9C7C"/>
    </a:custClr>
    <a:custClr>
      <a:srgbClr val="E8C425"/>
    </a:custClr>
    <a:custClr>
      <a:srgbClr val="777777"/>
    </a:custClr>
    <a:custClr>
      <a:srgbClr val="9A9A9A"/>
    </a:custClr>
    <a:custClr>
      <a:srgbClr val="DCDCDC"/>
    </a:custClr>
  </a:custClrLst>
  <a:extLst>
    <a:ext uri="{05A4C25C-085E-4340-85A3-A5531E510DB2}">
      <thm15:themeFamily xmlns:thm15="http://schemas.microsoft.com/office/thememl/2012/main" name="KOLPING_Vorlage_Quadrat_scr01.potx" id="{AEEF65E1-F2B0-46A8-BF38-3A6D04066979}" vid="{22C303E9-29BB-4FC7-B5DD-FB4C6C40B05E}"/>
    </a:ext>
  </a:extLst>
</a:theme>
</file>

<file path=ppt/theme/theme2.xml><?xml version="1.0" encoding="utf-8"?>
<a:theme xmlns:a="http://schemas.openxmlformats.org/drawingml/2006/main" name="Office">
  <a:themeElements>
    <a:clrScheme name="Kolping 2020">
      <a:dk1>
        <a:sysClr val="windowText" lastClr="000000"/>
      </a:dk1>
      <a:lt1>
        <a:sysClr val="window" lastClr="FFFFFF"/>
      </a:lt1>
      <a:dk2>
        <a:srgbClr val="FF8C00"/>
      </a:dk2>
      <a:lt2>
        <a:srgbClr val="FFDCA5"/>
      </a:lt2>
      <a:accent1>
        <a:srgbClr val="FF8C00"/>
      </a:accent1>
      <a:accent2>
        <a:srgbClr val="74056F"/>
      </a:accent2>
      <a:accent3>
        <a:srgbClr val="1D728A"/>
      </a:accent3>
      <a:accent4>
        <a:srgbClr val="9B0687"/>
      </a:accent4>
      <a:accent5>
        <a:srgbClr val="41A0A0"/>
      </a:accent5>
      <a:accent6>
        <a:srgbClr val="285DA6"/>
      </a:accent6>
      <a:hlink>
        <a:srgbClr val="285DA6"/>
      </a:hlink>
      <a:folHlink>
        <a:srgbClr val="74056F"/>
      </a:folHlink>
    </a:clrScheme>
    <a:fontScheme name="Kolping 2020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Kolping 2020">
      <a:dk1>
        <a:sysClr val="windowText" lastClr="000000"/>
      </a:dk1>
      <a:lt1>
        <a:sysClr val="window" lastClr="FFFFFF"/>
      </a:lt1>
      <a:dk2>
        <a:srgbClr val="FF8C00"/>
      </a:dk2>
      <a:lt2>
        <a:srgbClr val="FFDCA5"/>
      </a:lt2>
      <a:accent1>
        <a:srgbClr val="FF8C00"/>
      </a:accent1>
      <a:accent2>
        <a:srgbClr val="74056F"/>
      </a:accent2>
      <a:accent3>
        <a:srgbClr val="1D728A"/>
      </a:accent3>
      <a:accent4>
        <a:srgbClr val="9B0687"/>
      </a:accent4>
      <a:accent5>
        <a:srgbClr val="41A0A0"/>
      </a:accent5>
      <a:accent6>
        <a:srgbClr val="285DA6"/>
      </a:accent6>
      <a:hlink>
        <a:srgbClr val="285DA6"/>
      </a:hlink>
      <a:folHlink>
        <a:srgbClr val="74056F"/>
      </a:folHlink>
    </a:clrScheme>
    <a:fontScheme name="Kolping 2020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70</Words>
  <Application>Microsoft Office PowerPoint</Application>
  <PresentationFormat>Breitbild</PresentationFormat>
  <Paragraphs>419</Paragraphs>
  <Slides>4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4</vt:i4>
      </vt:variant>
    </vt:vector>
  </HeadingPairs>
  <TitlesOfParts>
    <vt:vector size="49" baseType="lpstr">
      <vt:lpstr>Arial</vt:lpstr>
      <vt:lpstr>Calibri</vt:lpstr>
      <vt:lpstr>Wingdings</vt:lpstr>
      <vt:lpstr>Kolping PPT Master 16:9 (Quadrat)</vt:lpstr>
      <vt:lpstr>think-cell Folie</vt:lpstr>
      <vt:lpstr>Layoutübersicht</vt:lpstr>
      <vt:lpstr>Raster/Definition Inhaltsfläche</vt:lpstr>
      <vt:lpstr>PowerPoint Farben</vt:lpstr>
      <vt:lpstr>Wechsel zwischen den Textebenen</vt:lpstr>
      <vt:lpstr>Anleitung für die Fußzeile</vt:lpstr>
      <vt:lpstr>Platzhalter Bild einfügen</vt:lpstr>
      <vt:lpstr>Platzhalter für den Präsentationstitel,  maximal vierzeilig</vt:lpstr>
      <vt:lpstr>Platzhalter für den Präsentationstitel,  maximal vierzeilig</vt:lpstr>
      <vt:lpstr>Platzhalter für den Präsentationstitel,  maximal vierzeilig</vt:lpstr>
      <vt:lpstr>Platzhalter für den Präsentationstitel,  maximal vierzeilig</vt:lpstr>
      <vt:lpstr>Agenda</vt:lpstr>
      <vt:lpstr>Agenda</vt:lpstr>
      <vt:lpstr>Agenda</vt:lpstr>
      <vt:lpstr>Agenda</vt:lpstr>
      <vt:lpstr>Platzhalter für eine Kapitelüberschrift</vt:lpstr>
      <vt:lpstr>Platzhalter für eine Kapitelüberschrift</vt:lpstr>
      <vt:lpstr>Platzhalter für eine Kapitelüberschrift</vt:lpstr>
      <vt:lpstr>Platzhalter für eine Kapitelüberschrift</vt:lpstr>
      <vt:lpstr>Platzhalter für eine Kapitelüberschrift</vt:lpstr>
      <vt:lpstr>Platzhalter für eine  Kapitelüberschrift</vt:lpstr>
      <vt:lpstr>Platzhalter für eine Kapitelüberschrift</vt:lpstr>
      <vt:lpstr>Platzhalter für eine Kapitelüberschrift</vt:lpstr>
      <vt:lpstr>„Tut jeder in seinem   Kreis das Beste,    wird es bald in der   Welt auch besser   aussehen.“</vt:lpstr>
      <vt:lpstr>Platzhalter für den Folientitel</vt:lpstr>
      <vt:lpstr>Platzhalter für den Folientitel</vt:lpstr>
      <vt:lpstr>Platzhalter für den Folientitel</vt:lpstr>
      <vt:lpstr>Platzhalter für den Folientitel</vt:lpstr>
      <vt:lpstr>Kolping in 12 Sätzen</vt:lpstr>
      <vt:lpstr>Folientitel (Säulendiagramm)</vt:lpstr>
      <vt:lpstr>Folientitel (Ringdiagramm und Liniendiagramm)</vt:lpstr>
      <vt:lpstr>Platzhalter für den Folientitel (kann auch zweizeilig sein)</vt:lpstr>
      <vt:lpstr>Platzhalter für den Folientitel (kann auch zweizeilig sein)</vt:lpstr>
      <vt:lpstr>Platzhalter für den Folientitel (kann auch zweizeilig sein)</vt:lpstr>
      <vt:lpstr>Platzhalter für den Folientitel (kann auch zweizeilig sein)</vt:lpstr>
      <vt:lpstr>Platzhalter für den Folientitel Balkendiagramm</vt:lpstr>
      <vt:lpstr>Platzhalter für den Folientitel (kann auch zweizeilig sein)</vt:lpstr>
      <vt:lpstr>Platzhalter für den Folientitel (kann auch zweizeilig sein)</vt:lpstr>
      <vt:lpstr>Platzhalter für den Folientitel (kann auch zweizeilig sein)</vt:lpstr>
      <vt:lpstr>Platzhalter für den Folientitel (kann auch zweizeilig sein)</vt:lpstr>
      <vt:lpstr>Platzhalter für den Folientitel (kann auch zweizeilig sein)</vt:lpstr>
      <vt:lpstr>Kolping in 12 Sätzen</vt:lpstr>
      <vt:lpstr>Platzhalter für den Folientitel (kann auch zweizeilig sein)</vt:lpstr>
      <vt:lpstr>Platzhalter für den Folientitel (kann auch zweizeilig sein)</vt:lpstr>
      <vt:lpstr>Platzhalter für den Folientitel (kann auch zweizeilig sein)</vt:lpstr>
    </vt:vector>
  </TitlesOfParts>
  <Manager>Name</Manager>
  <Company>Kolpingwer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tzhalter für den Präsentationstitel</dc:title>
  <dc:creator>Name</dc:creator>
  <dc:description>Optimiert für die PowerPoint Version 2016</dc:description>
  <cp:lastModifiedBy>Office Screenmakers 3</cp:lastModifiedBy>
  <cp:revision>103</cp:revision>
  <dcterms:created xsi:type="dcterms:W3CDTF">2020-03-06T13:17:16Z</dcterms:created>
  <dcterms:modified xsi:type="dcterms:W3CDTF">2020-03-30T09:46:18Z</dcterms:modified>
</cp:coreProperties>
</file>